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8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53A3C8-44F1-4A34-BF22-3C1705F1819E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AF4C69-DDDC-48E6-A755-93D2B932648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066735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1905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836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147291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850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935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34450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315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688948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3" name="think-cell data - do not delete" hidden="1">
            <a:extLst>
              <a:ext uri="{FF2B5EF4-FFF2-40B4-BE49-F238E27FC236}">
                <a16:creationId xmlns:a16="http://schemas.microsoft.com/office/drawing/2014/main" id="{4B6E4C94-5400-662C-05E7-D29B45993A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0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E4C94-5400-662C-05E7-D29B45993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0720EE-233C-5C36-63BE-1A6ED125C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1EABBE49-F342-E3E4-0FD7-48806DB7A4B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256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, globe</a:t>
            </a:r>
          </a:p>
        </p:txBody>
      </p:sp>
      <p:grpSp>
        <p:nvGrpSpPr>
          <p:cNvPr id="611" name="Group 610">
            <a:extLst>
              <a:ext uri="{FF2B5EF4-FFF2-40B4-BE49-F238E27FC236}">
                <a16:creationId xmlns:a16="http://schemas.microsoft.com/office/drawing/2014/main" id="{69C4CA0D-88AF-50BC-606A-7938790F01CD}"/>
              </a:ext>
            </a:extLst>
          </p:cNvPr>
          <p:cNvGrpSpPr/>
          <p:nvPr/>
        </p:nvGrpSpPr>
        <p:grpSpPr>
          <a:xfrm>
            <a:off x="6486733" y="1321315"/>
            <a:ext cx="4288232" cy="3302175"/>
            <a:chOff x="6486733" y="1321315"/>
            <a:chExt cx="4288232" cy="3302175"/>
          </a:xfrm>
          <a:solidFill>
            <a:schemeClr val="bg2"/>
          </a:solidFill>
        </p:grpSpPr>
        <p:sp>
          <p:nvSpPr>
            <p:cNvPr id="612" name="Freeform 681">
              <a:extLst>
                <a:ext uri="{FF2B5EF4-FFF2-40B4-BE49-F238E27FC236}">
                  <a16:creationId xmlns:a16="http://schemas.microsoft.com/office/drawing/2014/main" id="{89B7D836-6C50-735D-0FC8-9D3EB54DD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14" y="3240170"/>
              <a:ext cx="182402" cy="149496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3" name="Freeform 688">
              <a:extLst>
                <a:ext uri="{FF2B5EF4-FFF2-40B4-BE49-F238E27FC236}">
                  <a16:creationId xmlns:a16="http://schemas.microsoft.com/office/drawing/2014/main" id="{589C4B93-13CD-43C0-0283-C355F206F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324" y="3361280"/>
              <a:ext cx="42917" cy="145713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4" name="Freeform 683">
              <a:extLst>
                <a:ext uri="{FF2B5EF4-FFF2-40B4-BE49-F238E27FC236}">
                  <a16:creationId xmlns:a16="http://schemas.microsoft.com/office/drawing/2014/main" id="{FC3E5D37-2BFB-8F11-18CC-74B7FE456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733" y="3077428"/>
              <a:ext cx="497134" cy="200590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5" name="Freeform 686">
              <a:extLst>
                <a:ext uri="{FF2B5EF4-FFF2-40B4-BE49-F238E27FC236}">
                  <a16:creationId xmlns:a16="http://schemas.microsoft.com/office/drawing/2014/main" id="{BBE1211C-8B1A-23F4-A496-C035C45EB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148" y="3317758"/>
              <a:ext cx="41131" cy="49203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6" name="Freeform 720">
              <a:extLst>
                <a:ext uri="{FF2B5EF4-FFF2-40B4-BE49-F238E27FC236}">
                  <a16:creationId xmlns:a16="http://schemas.microsoft.com/office/drawing/2014/main" id="{B0C17DB0-585B-4180-1729-92756CB25E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7862" y="1544612"/>
              <a:ext cx="4247103" cy="1566878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7" name="Freeform 407">
              <a:extLst>
                <a:ext uri="{FF2B5EF4-FFF2-40B4-BE49-F238E27FC236}">
                  <a16:creationId xmlns:a16="http://schemas.microsoft.com/office/drawing/2014/main" id="{0BBD8545-6EAD-EE9E-0C28-DE20840A7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8706" y="1444318"/>
              <a:ext cx="168096" cy="8894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8" name="Freeform 408">
              <a:extLst>
                <a:ext uri="{FF2B5EF4-FFF2-40B4-BE49-F238E27FC236}">
                  <a16:creationId xmlns:a16="http://schemas.microsoft.com/office/drawing/2014/main" id="{EA137009-7999-50D3-8A37-4DD0D6CF6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799" y="1393224"/>
              <a:ext cx="157367" cy="8894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9" name="Freeform 409">
              <a:extLst>
                <a:ext uri="{FF2B5EF4-FFF2-40B4-BE49-F238E27FC236}">
                  <a16:creationId xmlns:a16="http://schemas.microsoft.com/office/drawing/2014/main" id="{3A4486A8-41F7-BC66-0C74-4D1FB15650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6304" y="1398900"/>
              <a:ext cx="78683" cy="2838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0" name="Freeform 410">
              <a:extLst>
                <a:ext uri="{FF2B5EF4-FFF2-40B4-BE49-F238E27FC236}">
                  <a16:creationId xmlns:a16="http://schemas.microsoft.com/office/drawing/2014/main" id="{81A44D6D-2120-D3F9-D4A1-74909DA7F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610" y="1321315"/>
              <a:ext cx="132330" cy="8894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1" name="Freeform 411">
              <a:extLst>
                <a:ext uri="{FF2B5EF4-FFF2-40B4-BE49-F238E27FC236}">
                  <a16:creationId xmlns:a16="http://schemas.microsoft.com/office/drawing/2014/main" id="{6BF4C08C-F54B-E434-E88A-2DAD4F8C6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449" y="1671401"/>
              <a:ext cx="132330" cy="45416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2" name="Freeform 412">
              <a:extLst>
                <a:ext uri="{FF2B5EF4-FFF2-40B4-BE49-F238E27FC236}">
                  <a16:creationId xmlns:a16="http://schemas.microsoft.com/office/drawing/2014/main" id="{9DFC3A9F-9050-1225-CA6E-580BC65E4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352" y="1760341"/>
              <a:ext cx="110872" cy="45416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3" name="Freeform 413">
              <a:extLst>
                <a:ext uri="{FF2B5EF4-FFF2-40B4-BE49-F238E27FC236}">
                  <a16:creationId xmlns:a16="http://schemas.microsoft.com/office/drawing/2014/main" id="{A2ED2F94-93BA-F662-0DB3-346A3E37D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718" y="1739527"/>
              <a:ext cx="42917" cy="26493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4" name="Freeform 414">
              <a:extLst>
                <a:ext uri="{FF2B5EF4-FFF2-40B4-BE49-F238E27FC236}">
                  <a16:creationId xmlns:a16="http://schemas.microsoft.com/office/drawing/2014/main" id="{559F9181-CCDC-7364-6D49-58CAFB1FB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660047"/>
              <a:ext cx="16094" cy="2838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5" name="Freeform 415">
              <a:extLst>
                <a:ext uri="{FF2B5EF4-FFF2-40B4-BE49-F238E27FC236}">
                  <a16:creationId xmlns:a16="http://schemas.microsoft.com/office/drawing/2014/main" id="{0D545F81-7C49-F360-A2A4-01247FB96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743310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6" name="Freeform 416">
              <a:extLst>
                <a:ext uri="{FF2B5EF4-FFF2-40B4-BE49-F238E27FC236}">
                  <a16:creationId xmlns:a16="http://schemas.microsoft.com/office/drawing/2014/main" id="{5A02D4FC-3BF3-CE6F-205B-2D2BE1C44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034" y="1639232"/>
              <a:ext cx="221744" cy="8894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7" name="Freeform 417">
              <a:extLst>
                <a:ext uri="{FF2B5EF4-FFF2-40B4-BE49-F238E27FC236}">
                  <a16:creationId xmlns:a16="http://schemas.microsoft.com/office/drawing/2014/main" id="{EDA672F9-6AF7-F003-7B49-C572D48D5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1001" y="1665725"/>
              <a:ext cx="41130" cy="45416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8" name="Freeform 418">
              <a:extLst>
                <a:ext uri="{FF2B5EF4-FFF2-40B4-BE49-F238E27FC236}">
                  <a16:creationId xmlns:a16="http://schemas.microsoft.com/office/drawing/2014/main" id="{8C545AFC-8570-04AD-DBE3-70CB224BB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690" y="1966609"/>
              <a:ext cx="57223" cy="34061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9" name="Freeform 419">
              <a:extLst>
                <a:ext uri="{FF2B5EF4-FFF2-40B4-BE49-F238E27FC236}">
                  <a16:creationId xmlns:a16="http://schemas.microsoft.com/office/drawing/2014/main" id="{3FE091E5-8A99-5BD8-0DC7-919F6D3A6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2454840"/>
              <a:ext cx="32188" cy="2838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0" name="Freeform 420">
              <a:extLst>
                <a:ext uri="{FF2B5EF4-FFF2-40B4-BE49-F238E27FC236}">
                  <a16:creationId xmlns:a16="http://schemas.microsoft.com/office/drawing/2014/main" id="{0D75F98A-2F68-1DD6-7578-EB948D89648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398" y="2617584"/>
              <a:ext cx="26823" cy="15139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1" name="Freeform 421">
              <a:extLst>
                <a:ext uri="{FF2B5EF4-FFF2-40B4-BE49-F238E27FC236}">
                  <a16:creationId xmlns:a16="http://schemas.microsoft.com/office/drawing/2014/main" id="{475A7993-8B1C-20CD-588B-29343F21C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1497" y="2784111"/>
              <a:ext cx="26823" cy="26493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2" name="Freeform 422">
              <a:extLst>
                <a:ext uri="{FF2B5EF4-FFF2-40B4-BE49-F238E27FC236}">
                  <a16:creationId xmlns:a16="http://schemas.microsoft.com/office/drawing/2014/main" id="{B31251FB-31B5-A0B2-47DD-37FE322D3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403" y="2827635"/>
              <a:ext cx="10730" cy="5677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3" name="Freeform 423">
              <a:extLst>
                <a:ext uri="{FF2B5EF4-FFF2-40B4-BE49-F238E27FC236}">
                  <a16:creationId xmlns:a16="http://schemas.microsoft.com/office/drawing/2014/main" id="{C7260C65-59BE-5F1B-9D69-43B0257AE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2086" y="2916576"/>
              <a:ext cx="16094" cy="5677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4" name="Freeform 424">
              <a:extLst>
                <a:ext uri="{FF2B5EF4-FFF2-40B4-BE49-F238E27FC236}">
                  <a16:creationId xmlns:a16="http://schemas.microsoft.com/office/drawing/2014/main" id="{5CB1BA56-4306-6B04-E6AB-A0D36AB67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9496" y="2944962"/>
              <a:ext cx="37553" cy="22709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5" name="Freeform 425">
              <a:extLst>
                <a:ext uri="{FF2B5EF4-FFF2-40B4-BE49-F238E27FC236}">
                  <a16:creationId xmlns:a16="http://schemas.microsoft.com/office/drawing/2014/main" id="{706AAC6F-87BA-2FC5-EE7A-6BF063242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366" y="2967670"/>
              <a:ext cx="30400" cy="20817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6" name="Freeform 426">
              <a:extLst>
                <a:ext uri="{FF2B5EF4-FFF2-40B4-BE49-F238E27FC236}">
                  <a16:creationId xmlns:a16="http://schemas.microsoft.com/office/drawing/2014/main" id="{755D8FA7-C67D-6CFB-442B-C6F12F05B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1543" y="2984701"/>
              <a:ext cx="26823" cy="26493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7" name="Freeform 427">
              <a:extLst>
                <a:ext uri="{FF2B5EF4-FFF2-40B4-BE49-F238E27FC236}">
                  <a16:creationId xmlns:a16="http://schemas.microsoft.com/office/drawing/2014/main" id="{DFDEA07E-FB6C-FB4C-D20B-892443FDE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6177" y="3022548"/>
              <a:ext cx="5364" cy="567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8" name="Freeform 428">
              <a:extLst>
                <a:ext uri="{FF2B5EF4-FFF2-40B4-BE49-F238E27FC236}">
                  <a16:creationId xmlns:a16="http://schemas.microsoft.com/office/drawing/2014/main" id="{F00DE9DF-1285-C66C-A7AD-1DCC65EED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353" y="2999840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9" name="Freeform 429">
              <a:extLst>
                <a:ext uri="{FF2B5EF4-FFF2-40B4-BE49-F238E27FC236}">
                  <a16:creationId xmlns:a16="http://schemas.microsoft.com/office/drawing/2014/main" id="{CACCF71C-72F0-BDFA-3D69-B5F24A7F5A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6221" y="3206108"/>
              <a:ext cx="10730" cy="17031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grpSp>
          <p:nvGrpSpPr>
            <p:cNvPr id="640" name="Group 639">
              <a:extLst>
                <a:ext uri="{FF2B5EF4-FFF2-40B4-BE49-F238E27FC236}">
                  <a16:creationId xmlns:a16="http://schemas.microsoft.com/office/drawing/2014/main" id="{3203AD9B-BD17-F52E-971D-6973EFBF6F1E}"/>
                </a:ext>
              </a:extLst>
            </p:cNvPr>
            <p:cNvGrpSpPr/>
            <p:nvPr/>
          </p:nvGrpSpPr>
          <p:grpSpPr>
            <a:xfrm>
              <a:off x="9203092" y="2967670"/>
              <a:ext cx="391625" cy="393611"/>
              <a:chOff x="5961121" y="2686387"/>
              <a:chExt cx="288233" cy="273757"/>
            </a:xfrm>
            <a:grpFill/>
          </p:grpSpPr>
          <p:sp>
            <p:nvSpPr>
              <p:cNvPr id="735" name="Freeform 430">
                <a:extLst>
                  <a:ext uri="{FF2B5EF4-FFF2-40B4-BE49-F238E27FC236}">
                    <a16:creationId xmlns:a16="http://schemas.microsoft.com/office/drawing/2014/main" id="{2DB2A4BA-AE2E-1FDC-9D2B-3B50A52154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1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Calibri" panose="020F0502020204030204" pitchFamily="34" charset="0"/>
                  <a:ea typeface="理想品牌字体 2022"/>
                  <a:cs typeface="+mn-cs"/>
                </a:endParaRPr>
              </a:p>
            </p:txBody>
          </p:sp>
          <p:sp>
            <p:nvSpPr>
              <p:cNvPr id="736" name="Freeform 431">
                <a:extLst>
                  <a:ext uri="{FF2B5EF4-FFF2-40B4-BE49-F238E27FC236}">
                    <a16:creationId xmlns:a16="http://schemas.microsoft.com/office/drawing/2014/main" id="{4388B2DE-0BE6-C21E-3F6D-2864598AF5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1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Calibri" panose="020F0502020204030204" pitchFamily="34" charset="0"/>
                  <a:ea typeface="理想品牌字体 2022"/>
                  <a:cs typeface="+mn-cs"/>
                </a:endParaRPr>
              </a:p>
            </p:txBody>
          </p:sp>
        </p:grpSp>
        <p:sp>
          <p:nvSpPr>
            <p:cNvPr id="641" name="Freeform 432">
              <a:extLst>
                <a:ext uri="{FF2B5EF4-FFF2-40B4-BE49-F238E27FC236}">
                  <a16:creationId xmlns:a16="http://schemas.microsoft.com/office/drawing/2014/main" id="{F599377F-82EB-6AF4-FF2A-6C8CCBB055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1444" y="3329111"/>
              <a:ext cx="10730" cy="1513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2" name="Freeform 433">
              <a:extLst>
                <a:ext uri="{FF2B5EF4-FFF2-40B4-BE49-F238E27FC236}">
                  <a16:creationId xmlns:a16="http://schemas.microsoft.com/office/drawing/2014/main" id="{5BA3F2B7-498D-435D-3F16-6B874577D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855" y="3329111"/>
              <a:ext cx="67953" cy="54878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3" name="Freeform 434">
              <a:extLst>
                <a:ext uri="{FF2B5EF4-FFF2-40B4-BE49-F238E27FC236}">
                  <a16:creationId xmlns:a16="http://schemas.microsoft.com/office/drawing/2014/main" id="{5B782CD9-BC0D-77EE-4782-7BE01CBF2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901" y="3349928"/>
              <a:ext cx="57223" cy="8894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4" name="Freeform 435">
              <a:extLst>
                <a:ext uri="{FF2B5EF4-FFF2-40B4-BE49-F238E27FC236}">
                  <a16:creationId xmlns:a16="http://schemas.microsoft.com/office/drawing/2014/main" id="{CE5719D2-5FAE-4281-588D-8D63A1580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3678" y="3567551"/>
              <a:ext cx="19671" cy="17031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5" name="Freeform 436">
              <a:extLst>
                <a:ext uri="{FF2B5EF4-FFF2-40B4-BE49-F238E27FC236}">
                  <a16:creationId xmlns:a16="http://schemas.microsoft.com/office/drawing/2014/main" id="{982A2CC0-80C2-8A9A-D6C4-D5C3A29A6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0172" y="3512671"/>
              <a:ext cx="10730" cy="9462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6" name="Freeform 437">
              <a:extLst>
                <a:ext uri="{FF2B5EF4-FFF2-40B4-BE49-F238E27FC236}">
                  <a16:creationId xmlns:a16="http://schemas.microsoft.com/office/drawing/2014/main" id="{A5C4C8B5-D5A6-9972-3BF4-CA6E53E15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628106"/>
              <a:ext cx="10730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7" name="Freeform 438">
              <a:extLst>
                <a:ext uri="{FF2B5EF4-FFF2-40B4-BE49-F238E27FC236}">
                  <a16:creationId xmlns:a16="http://schemas.microsoft.com/office/drawing/2014/main" id="{23ADBB79-205E-25CF-5365-117643083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8760" y="3607289"/>
              <a:ext cx="62589" cy="92726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8" name="Freeform 439">
              <a:extLst>
                <a:ext uri="{FF2B5EF4-FFF2-40B4-BE49-F238E27FC236}">
                  <a16:creationId xmlns:a16="http://schemas.microsoft.com/office/drawing/2014/main" id="{7706E765-8C15-246A-9ADD-8E2CC43CB1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9391" y="3762463"/>
              <a:ext cx="73319" cy="54878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9" name="Freeform 440">
              <a:extLst>
                <a:ext uri="{FF2B5EF4-FFF2-40B4-BE49-F238E27FC236}">
                  <a16:creationId xmlns:a16="http://schemas.microsoft.com/office/drawing/2014/main" id="{56CF4F8A-DF09-364B-E32B-BF89317A5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3800311"/>
              <a:ext cx="105506" cy="157066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0" name="Freeform 441">
              <a:extLst>
                <a:ext uri="{FF2B5EF4-FFF2-40B4-BE49-F238E27FC236}">
                  <a16:creationId xmlns:a16="http://schemas.microsoft.com/office/drawing/2014/main" id="{FFACD978-AC24-1D10-08C6-561D6B1E5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3934668"/>
              <a:ext cx="32188" cy="43525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1" name="Freeform 442">
              <a:extLst>
                <a:ext uri="{FF2B5EF4-FFF2-40B4-BE49-F238E27FC236}">
                  <a16:creationId xmlns:a16="http://schemas.microsoft.com/office/drawing/2014/main" id="{FF274422-D68D-2A65-2874-49BD5C35A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972515"/>
              <a:ext cx="51859" cy="73803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2" name="Freeform 443">
              <a:extLst>
                <a:ext uri="{FF2B5EF4-FFF2-40B4-BE49-F238E27FC236}">
                  <a16:creationId xmlns:a16="http://schemas.microsoft.com/office/drawing/2014/main" id="{432F5DCD-6EAD-E61A-3168-1478437CB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4122" y="3940346"/>
              <a:ext cx="32188" cy="43525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3" name="Freeform 444">
              <a:extLst>
                <a:ext uri="{FF2B5EF4-FFF2-40B4-BE49-F238E27FC236}">
                  <a16:creationId xmlns:a16="http://schemas.microsoft.com/office/drawing/2014/main" id="{F538158A-02BA-031C-333C-4F562241E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677" y="3983870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4" name="Freeform 445">
              <a:extLst>
                <a:ext uri="{FF2B5EF4-FFF2-40B4-BE49-F238E27FC236}">
                  <a16:creationId xmlns:a16="http://schemas.microsoft.com/office/drawing/2014/main" id="{7E754318-91D9-0258-0FA2-3F5325A1B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2407" y="4017932"/>
              <a:ext cx="35765" cy="60555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5" name="Freeform 446">
              <a:extLst>
                <a:ext uri="{FF2B5EF4-FFF2-40B4-BE49-F238E27FC236}">
                  <a16:creationId xmlns:a16="http://schemas.microsoft.com/office/drawing/2014/main" id="{4FC17EE3-A872-90EB-D51A-3B51BA32A5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2805" y="4012255"/>
              <a:ext cx="21459" cy="43525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5" name="Freeform 447">
              <a:extLst>
                <a:ext uri="{FF2B5EF4-FFF2-40B4-BE49-F238E27FC236}">
                  <a16:creationId xmlns:a16="http://schemas.microsoft.com/office/drawing/2014/main" id="{FF9D5F87-4B36-44C6-0A5F-3C2C3CDFD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40641"/>
              <a:ext cx="32188" cy="20817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6" name="Freeform 448">
              <a:extLst>
                <a:ext uri="{FF2B5EF4-FFF2-40B4-BE49-F238E27FC236}">
                  <a16:creationId xmlns:a16="http://schemas.microsoft.com/office/drawing/2014/main" id="{025882B6-E2DC-36A9-C09F-339C4A095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55781"/>
              <a:ext cx="73319" cy="117328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7" name="Freeform 449">
              <a:extLst>
                <a:ext uri="{FF2B5EF4-FFF2-40B4-BE49-F238E27FC236}">
                  <a16:creationId xmlns:a16="http://schemas.microsoft.com/office/drawing/2014/main" id="{3AB4E778-7DCA-EAF5-9D7A-23C0D9CBA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041" y="4078488"/>
              <a:ext cx="62589" cy="56771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8" name="Freeform 450">
              <a:extLst>
                <a:ext uri="{FF2B5EF4-FFF2-40B4-BE49-F238E27FC236}">
                  <a16:creationId xmlns:a16="http://schemas.microsoft.com/office/drawing/2014/main" id="{0FFE9C1A-F5F8-4961-D4AB-1072658B5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075" y="4023609"/>
              <a:ext cx="62589" cy="66233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9" name="Freeform 451">
              <a:extLst>
                <a:ext uri="{FF2B5EF4-FFF2-40B4-BE49-F238E27FC236}">
                  <a16:creationId xmlns:a16="http://schemas.microsoft.com/office/drawing/2014/main" id="{3E8C5B9C-3F98-BC69-6328-03C5B7D1E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4266" y="3940346"/>
              <a:ext cx="10730" cy="5677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0" name="Freeform 452">
              <a:extLst>
                <a:ext uri="{FF2B5EF4-FFF2-40B4-BE49-F238E27FC236}">
                  <a16:creationId xmlns:a16="http://schemas.microsoft.com/office/drawing/2014/main" id="{CF074311-E915-6C74-0BF7-456BD095F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4257" y="4167429"/>
              <a:ext cx="293274" cy="323595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1" name="Freeform 453">
              <a:extLst>
                <a:ext uri="{FF2B5EF4-FFF2-40B4-BE49-F238E27FC236}">
                  <a16:creationId xmlns:a16="http://schemas.microsoft.com/office/drawing/2014/main" id="{67D1895A-5417-4E31-B30F-B50AD6811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6116" y="4284757"/>
              <a:ext cx="26823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2" name="Freeform 454">
              <a:extLst>
                <a:ext uri="{FF2B5EF4-FFF2-40B4-BE49-F238E27FC236}">
                  <a16:creationId xmlns:a16="http://schemas.microsoft.com/office/drawing/2014/main" id="{A39FE5FF-BEC4-868C-395B-87A028C34E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671" y="4350990"/>
              <a:ext cx="25036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3" name="Freeform 455">
              <a:extLst>
                <a:ext uri="{FF2B5EF4-FFF2-40B4-BE49-F238E27FC236}">
                  <a16:creationId xmlns:a16="http://schemas.microsoft.com/office/drawing/2014/main" id="{2AE5C7B3-D3A4-49AD-96D5-57ED66A52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0707" y="4368019"/>
              <a:ext cx="37553" cy="39739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4" name="Freeform 456">
              <a:extLst>
                <a:ext uri="{FF2B5EF4-FFF2-40B4-BE49-F238E27FC236}">
                  <a16:creationId xmlns:a16="http://schemas.microsoft.com/office/drawing/2014/main" id="{182F2D35-BDE7-42F2-44EC-E75BA12AC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720" y="4396406"/>
              <a:ext cx="19671" cy="20817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5" name="Freeform 457">
              <a:extLst>
                <a:ext uri="{FF2B5EF4-FFF2-40B4-BE49-F238E27FC236}">
                  <a16:creationId xmlns:a16="http://schemas.microsoft.com/office/drawing/2014/main" id="{ED19F2B9-5B07-27A6-B528-0DE6876A4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6071" y="4491024"/>
              <a:ext cx="241415" cy="832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6" name="Freeform 458">
              <a:extLst>
                <a:ext uri="{FF2B5EF4-FFF2-40B4-BE49-F238E27FC236}">
                  <a16:creationId xmlns:a16="http://schemas.microsoft.com/office/drawing/2014/main" id="{8F586DA9-B286-3109-4C91-B4C4EBCF9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4898" y="4511839"/>
              <a:ext cx="41130" cy="17031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7" name="Freeform 459">
              <a:extLst>
                <a:ext uri="{FF2B5EF4-FFF2-40B4-BE49-F238E27FC236}">
                  <a16:creationId xmlns:a16="http://schemas.microsoft.com/office/drawing/2014/main" id="{80E7673A-E667-0315-C455-BDD8EE847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2121" y="4551579"/>
              <a:ext cx="32188" cy="22709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8" name="Freeform 460">
              <a:extLst>
                <a:ext uri="{FF2B5EF4-FFF2-40B4-BE49-F238E27FC236}">
                  <a16:creationId xmlns:a16="http://schemas.microsoft.com/office/drawing/2014/main" id="{931B996D-26EE-E335-28EE-BFEAA87CD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4310" y="4557255"/>
              <a:ext cx="25036" cy="17031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9" name="Freeform 461">
              <a:extLst>
                <a:ext uri="{FF2B5EF4-FFF2-40B4-BE49-F238E27FC236}">
                  <a16:creationId xmlns:a16="http://schemas.microsoft.com/office/drawing/2014/main" id="{E6350753-BEC8-B717-46E7-23C8576FF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3980" y="4557255"/>
              <a:ext cx="37553" cy="22709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0" name="Freeform 462">
              <a:extLst>
                <a:ext uri="{FF2B5EF4-FFF2-40B4-BE49-F238E27FC236}">
                  <a16:creationId xmlns:a16="http://schemas.microsoft.com/office/drawing/2014/main" id="{6BF7700C-3F4F-4CF1-CA04-AAF403D4D2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0804" y="4551579"/>
              <a:ext cx="42917" cy="2838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1" name="Freeform 463">
              <a:extLst>
                <a:ext uri="{FF2B5EF4-FFF2-40B4-BE49-F238E27FC236}">
                  <a16:creationId xmlns:a16="http://schemas.microsoft.com/office/drawing/2014/main" id="{A96CB0BD-FED5-7E38-A161-794093F53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4557255"/>
              <a:ext cx="64377" cy="22709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2" name="Freeform 464">
              <a:extLst>
                <a:ext uri="{FF2B5EF4-FFF2-40B4-BE49-F238E27FC236}">
                  <a16:creationId xmlns:a16="http://schemas.microsoft.com/office/drawing/2014/main" id="{EF51C098-A3C9-78BD-E355-AD822B0BE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8358" y="4589426"/>
              <a:ext cx="57223" cy="34061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3" name="Freeform 465">
              <a:extLst>
                <a:ext uri="{FF2B5EF4-FFF2-40B4-BE49-F238E27FC236}">
                  <a16:creationId xmlns:a16="http://schemas.microsoft.com/office/drawing/2014/main" id="{7DF67DFA-D350-3371-3B64-7C85976CF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0759" y="4411545"/>
              <a:ext cx="32188" cy="22709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4" name="Freeform 466">
              <a:extLst>
                <a:ext uri="{FF2B5EF4-FFF2-40B4-BE49-F238E27FC236}">
                  <a16:creationId xmlns:a16="http://schemas.microsoft.com/office/drawing/2014/main" id="{EB57082A-FC26-1019-396B-C6CA9A551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4408" y="4407761"/>
              <a:ext cx="78683" cy="26493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5" name="Freeform 467">
              <a:extLst>
                <a:ext uri="{FF2B5EF4-FFF2-40B4-BE49-F238E27FC236}">
                  <a16:creationId xmlns:a16="http://schemas.microsoft.com/office/drawing/2014/main" id="{8B200A95-6DBF-9683-69BB-3E0220CEE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2993" y="4279078"/>
              <a:ext cx="168096" cy="200590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6" name="Freeform 468">
              <a:extLst>
                <a:ext uri="{FF2B5EF4-FFF2-40B4-BE49-F238E27FC236}">
                  <a16:creationId xmlns:a16="http://schemas.microsoft.com/office/drawing/2014/main" id="{8632939A-66AB-98E0-2B52-66D749F99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267724"/>
              <a:ext cx="41130" cy="832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7" name="Freeform 469">
              <a:extLst>
                <a:ext uri="{FF2B5EF4-FFF2-40B4-BE49-F238E27FC236}">
                  <a16:creationId xmlns:a16="http://schemas.microsoft.com/office/drawing/2014/main" id="{CCA68AD2-A08D-C9AE-230E-68C549FF4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773" y="4256371"/>
              <a:ext cx="14306" cy="11355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8" name="Freeform 470">
              <a:extLst>
                <a:ext uri="{FF2B5EF4-FFF2-40B4-BE49-F238E27FC236}">
                  <a16:creationId xmlns:a16="http://schemas.microsoft.com/office/drawing/2014/main" id="{5FFBD051-7A4E-A9A1-DC80-3526D6B07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997" y="4328280"/>
              <a:ext cx="25036" cy="11355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9" name="Freeform 471">
              <a:extLst>
                <a:ext uri="{FF2B5EF4-FFF2-40B4-BE49-F238E27FC236}">
                  <a16:creationId xmlns:a16="http://schemas.microsoft.com/office/drawing/2014/main" id="{A938398A-B0DE-89B4-06FF-E66810624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2362" y="4333956"/>
              <a:ext cx="98354" cy="62449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0" name="Freeform 485">
              <a:extLst>
                <a:ext uri="{FF2B5EF4-FFF2-40B4-BE49-F238E27FC236}">
                  <a16:creationId xmlns:a16="http://schemas.microsoft.com/office/drawing/2014/main" id="{5B99A957-9A56-FD8A-95B7-0D044AF3C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7665" y="4055781"/>
              <a:ext cx="57223" cy="100296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1" name="Freeform 487">
              <a:extLst>
                <a:ext uri="{FF2B5EF4-FFF2-40B4-BE49-F238E27FC236}">
                  <a16:creationId xmlns:a16="http://schemas.microsoft.com/office/drawing/2014/main" id="{0FF0F82C-5C9A-7923-7AEA-DB240E36D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1938224"/>
              <a:ext cx="57223" cy="45416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2" name="Freeform 488">
              <a:extLst>
                <a:ext uri="{FF2B5EF4-FFF2-40B4-BE49-F238E27FC236}">
                  <a16:creationId xmlns:a16="http://schemas.microsoft.com/office/drawing/2014/main" id="{E51F7485-B799-6D8D-85E3-DD9EC31B41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3" name="Freeform 489">
              <a:extLst>
                <a:ext uri="{FF2B5EF4-FFF2-40B4-BE49-F238E27FC236}">
                  <a16:creationId xmlns:a16="http://schemas.microsoft.com/office/drawing/2014/main" id="{A3FE2498-59B2-DA94-8ED7-357032B8AE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0886" y="1783050"/>
              <a:ext cx="46495" cy="2838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4" name="Freeform 490">
              <a:extLst>
                <a:ext uri="{FF2B5EF4-FFF2-40B4-BE49-F238E27FC236}">
                  <a16:creationId xmlns:a16="http://schemas.microsoft.com/office/drawing/2014/main" id="{C1F24E59-0FD0-4C0F-9394-D2B3DAE86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8802" y="1728172"/>
              <a:ext cx="51859" cy="26493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5" name="Freeform 491">
              <a:extLst>
                <a:ext uri="{FF2B5EF4-FFF2-40B4-BE49-F238E27FC236}">
                  <a16:creationId xmlns:a16="http://schemas.microsoft.com/office/drawing/2014/main" id="{0EBBE21E-64BD-2A06-2585-EE8AAACBE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481" y="1326992"/>
              <a:ext cx="32188" cy="11355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6" name="Freeform 492">
              <a:extLst>
                <a:ext uri="{FF2B5EF4-FFF2-40B4-BE49-F238E27FC236}">
                  <a16:creationId xmlns:a16="http://schemas.microsoft.com/office/drawing/2014/main" id="{312F6F6F-FCB5-25A6-C312-D01EE0E8B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208" y="1805760"/>
              <a:ext cx="30400" cy="22709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7" name="Freeform 610">
              <a:extLst>
                <a:ext uri="{FF2B5EF4-FFF2-40B4-BE49-F238E27FC236}">
                  <a16:creationId xmlns:a16="http://schemas.microsoft.com/office/drawing/2014/main" id="{2984AD07-1CC9-6C1F-EF49-6699C1237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6266" y="4379372"/>
              <a:ext cx="10730" cy="567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8" name="Freeform 611">
              <a:extLst>
                <a:ext uri="{FF2B5EF4-FFF2-40B4-BE49-F238E27FC236}">
                  <a16:creationId xmlns:a16="http://schemas.microsoft.com/office/drawing/2014/main" id="{E00E635D-5BB5-5E0D-88B5-94CAD72AA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368018"/>
              <a:ext cx="10730" cy="1135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9" name="Freeform 643">
              <a:extLst>
                <a:ext uri="{FF2B5EF4-FFF2-40B4-BE49-F238E27FC236}">
                  <a16:creationId xmlns:a16="http://schemas.microsoft.com/office/drawing/2014/main" id="{B7106FEB-CEC4-2EDC-D02D-186C372295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4574287"/>
              <a:ext cx="53647" cy="49203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0" name="Freeform 644">
              <a:extLst>
                <a:ext uri="{FF2B5EF4-FFF2-40B4-BE49-F238E27FC236}">
                  <a16:creationId xmlns:a16="http://schemas.microsoft.com/office/drawing/2014/main" id="{7C68C123-2679-B78E-BC06-A11030D3594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0360" y="4562933"/>
              <a:ext cx="67953" cy="26493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1" name="Freeform 676">
              <a:extLst>
                <a:ext uri="{FF2B5EF4-FFF2-40B4-BE49-F238E27FC236}">
                  <a16:creationId xmlns:a16="http://schemas.microsoft.com/office/drawing/2014/main" id="{C28EFD6E-AC98-B431-6C71-C01E1A0C1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198" y="3145552"/>
              <a:ext cx="518594" cy="465521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3" name="Freeform 680">
              <a:extLst>
                <a:ext uri="{FF2B5EF4-FFF2-40B4-BE49-F238E27FC236}">
                  <a16:creationId xmlns:a16="http://schemas.microsoft.com/office/drawing/2014/main" id="{94B4B927-A462-523F-216D-CD61ACA1E8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6786" y="3450223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4" name="Freeform 682">
              <a:extLst>
                <a:ext uri="{FF2B5EF4-FFF2-40B4-BE49-F238E27FC236}">
                  <a16:creationId xmlns:a16="http://schemas.microsoft.com/office/drawing/2014/main" id="{0024FF69-16F7-0D76-3233-45C18DC0B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560" y="3228816"/>
              <a:ext cx="261085" cy="261146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5" name="Freeform 684">
              <a:extLst>
                <a:ext uri="{FF2B5EF4-FFF2-40B4-BE49-F238E27FC236}">
                  <a16:creationId xmlns:a16="http://schemas.microsoft.com/office/drawing/2014/main" id="{9A6566DA-A52D-35A2-7BF1-69F27A6AF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2053" y="3395345"/>
              <a:ext cx="550782" cy="467415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6" name="Freeform 685">
              <a:extLst>
                <a:ext uri="{FF2B5EF4-FFF2-40B4-BE49-F238E27FC236}">
                  <a16:creationId xmlns:a16="http://schemas.microsoft.com/office/drawing/2014/main" id="{291EFAC5-54AC-446E-07B4-76211CDBF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61280"/>
              <a:ext cx="109084" cy="123003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7" name="Freeform 687">
              <a:extLst>
                <a:ext uri="{FF2B5EF4-FFF2-40B4-BE49-F238E27FC236}">
                  <a16:creationId xmlns:a16="http://schemas.microsoft.com/office/drawing/2014/main" id="{B34F33EA-2441-2A56-5614-CC5578CAC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8" name="Freeform 689">
              <a:extLst>
                <a:ext uri="{FF2B5EF4-FFF2-40B4-BE49-F238E27FC236}">
                  <a16:creationId xmlns:a16="http://schemas.microsoft.com/office/drawing/2014/main" id="{B16B9C24-8489-618A-0B1D-FC5116471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5869" y="3578903"/>
              <a:ext cx="26823" cy="43525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9" name="Freeform 690">
              <a:extLst>
                <a:ext uri="{FF2B5EF4-FFF2-40B4-BE49-F238E27FC236}">
                  <a16:creationId xmlns:a16="http://schemas.microsoft.com/office/drawing/2014/main" id="{DD831479-CA23-6B07-2103-A5C913ECF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280" y="3785172"/>
              <a:ext cx="278967" cy="187345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6" name="Freeform 691">
              <a:extLst>
                <a:ext uri="{FF2B5EF4-FFF2-40B4-BE49-F238E27FC236}">
                  <a16:creationId xmlns:a16="http://schemas.microsoft.com/office/drawing/2014/main" id="{EBD08F49-0220-F85D-7B7E-42EC05E015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3578903"/>
              <a:ext cx="214590" cy="272501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7" name="Freeform 692">
              <a:extLst>
                <a:ext uri="{FF2B5EF4-FFF2-40B4-BE49-F238E27FC236}">
                  <a16:creationId xmlns:a16="http://schemas.microsoft.com/office/drawing/2014/main" id="{B10BACA0-54A4-C6AF-D069-D6B48C5B4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061" y="3045257"/>
              <a:ext cx="287910" cy="132467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8" name="Freeform 693">
              <a:extLst>
                <a:ext uri="{FF2B5EF4-FFF2-40B4-BE49-F238E27FC236}">
                  <a16:creationId xmlns:a16="http://schemas.microsoft.com/office/drawing/2014/main" id="{F4D6D3B2-E8E5-1FA8-A844-DA3DA39E75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565" y="2961994"/>
              <a:ext cx="466735" cy="289531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9" name="Freeform 694">
              <a:extLst>
                <a:ext uri="{FF2B5EF4-FFF2-40B4-BE49-F238E27FC236}">
                  <a16:creationId xmlns:a16="http://schemas.microsoft.com/office/drawing/2014/main" id="{4C9D30B2-B9F9-9700-1510-7FAEA2894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4837" y="3283695"/>
              <a:ext cx="0" cy="567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0" name="Freeform 695">
              <a:extLst>
                <a:ext uri="{FF2B5EF4-FFF2-40B4-BE49-F238E27FC236}">
                  <a16:creationId xmlns:a16="http://schemas.microsoft.com/office/drawing/2014/main" id="{24A82BB4-2C5C-47BD-16AC-90418A7AC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422" y="3062288"/>
              <a:ext cx="382685" cy="238437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1" name="Freeform 696">
              <a:extLst>
                <a:ext uri="{FF2B5EF4-FFF2-40B4-BE49-F238E27FC236}">
                  <a16:creationId xmlns:a16="http://schemas.microsoft.com/office/drawing/2014/main" id="{08A4C3A1-5CA1-0955-C645-A446E4B39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568" y="3117166"/>
              <a:ext cx="209225" cy="149496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2" name="Freeform 697">
              <a:extLst>
                <a:ext uri="{FF2B5EF4-FFF2-40B4-BE49-F238E27FC236}">
                  <a16:creationId xmlns:a16="http://schemas.microsoft.com/office/drawing/2014/main" id="{659F0883-9960-9AC3-AC22-1CDFF9EC4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473" y="3245848"/>
              <a:ext cx="434547" cy="410644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3" name="Freeform 698">
              <a:extLst>
                <a:ext uri="{FF2B5EF4-FFF2-40B4-BE49-F238E27FC236}">
                  <a16:creationId xmlns:a16="http://schemas.microsoft.com/office/drawing/2014/main" id="{F194EF1B-3132-94F9-A421-3A6171E42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013" y="3194754"/>
              <a:ext cx="393416" cy="295208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4" name="Freeform 699">
              <a:extLst>
                <a:ext uri="{FF2B5EF4-FFF2-40B4-BE49-F238E27FC236}">
                  <a16:creationId xmlns:a16="http://schemas.microsoft.com/office/drawing/2014/main" id="{A4B49A90-C8C3-AB27-3E1B-7EDCBB973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2956316"/>
              <a:ext cx="14306" cy="22709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5" name="Freeform 700">
              <a:extLst>
                <a:ext uri="{FF2B5EF4-FFF2-40B4-BE49-F238E27FC236}">
                  <a16:creationId xmlns:a16="http://schemas.microsoft.com/office/drawing/2014/main" id="{B4677546-E46F-2423-DC6A-3F141265A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1421" y="2606229"/>
              <a:ext cx="1064011" cy="539325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6" name="Freeform 701">
              <a:extLst>
                <a:ext uri="{FF2B5EF4-FFF2-40B4-BE49-F238E27FC236}">
                  <a16:creationId xmlns:a16="http://schemas.microsoft.com/office/drawing/2014/main" id="{2172A21C-7C05-3BE7-A758-4236298B8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7239" y="3278017"/>
              <a:ext cx="734972" cy="828855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7" name="Freeform 702">
              <a:extLst>
                <a:ext uri="{FF2B5EF4-FFF2-40B4-BE49-F238E27FC236}">
                  <a16:creationId xmlns:a16="http://schemas.microsoft.com/office/drawing/2014/main" id="{0928A8F3-4016-3658-71CD-2C8090757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1668" y="3506994"/>
              <a:ext cx="214590" cy="545001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8" name="Freeform 703">
              <a:extLst>
                <a:ext uri="{FF2B5EF4-FFF2-40B4-BE49-F238E27FC236}">
                  <a16:creationId xmlns:a16="http://schemas.microsoft.com/office/drawing/2014/main" id="{0A6118CC-CB0F-F1A8-9AF0-2CFCC9A59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3573225"/>
              <a:ext cx="119815" cy="155174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9" name="Freeform 704">
              <a:extLst>
                <a:ext uri="{FF2B5EF4-FFF2-40B4-BE49-F238E27FC236}">
                  <a16:creationId xmlns:a16="http://schemas.microsoft.com/office/drawing/2014/main" id="{9E16DD99-A6C8-88F3-D6CA-105DFCE77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6846" y="3745431"/>
              <a:ext cx="219956" cy="427675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0" name="Freeform 705">
              <a:extLst>
                <a:ext uri="{FF2B5EF4-FFF2-40B4-BE49-F238E27FC236}">
                  <a16:creationId xmlns:a16="http://schemas.microsoft.com/office/drawing/2014/main" id="{DA97492F-2932-3AAA-88C8-2A4847FF9A8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6659" y="3656490"/>
              <a:ext cx="200284" cy="43335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1" name="Freeform 706">
              <a:extLst>
                <a:ext uri="{FF2B5EF4-FFF2-40B4-BE49-F238E27FC236}">
                  <a16:creationId xmlns:a16="http://schemas.microsoft.com/office/drawing/2014/main" id="{A0B1A780-6CCC-F7F0-E3A1-844522A02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0164" y="3690553"/>
              <a:ext cx="193132" cy="2497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2" name="Freeform 707">
              <a:extLst>
                <a:ext uri="{FF2B5EF4-FFF2-40B4-BE49-F238E27FC236}">
                  <a16:creationId xmlns:a16="http://schemas.microsoft.com/office/drawing/2014/main" id="{61845E1F-81A7-E7D3-2AB4-F0071B99E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125" y="4368018"/>
              <a:ext cx="236050" cy="211945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3" name="Freeform 709">
              <a:extLst>
                <a:ext uri="{FF2B5EF4-FFF2-40B4-BE49-F238E27FC236}">
                  <a16:creationId xmlns:a16="http://schemas.microsoft.com/office/drawing/2014/main" id="{5BCE9E5D-F5E9-119C-9DA5-A32CE861B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5484" y="4195815"/>
              <a:ext cx="268238" cy="2497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4" name="Freeform 710">
              <a:extLst>
                <a:ext uri="{FF2B5EF4-FFF2-40B4-BE49-F238E27FC236}">
                  <a16:creationId xmlns:a16="http://schemas.microsoft.com/office/drawing/2014/main" id="{47745D84-4607-EBCF-F1C0-A771E8717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1578" y="4129580"/>
              <a:ext cx="257509" cy="177883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5" name="Freeform 711">
              <a:extLst>
                <a:ext uri="{FF2B5EF4-FFF2-40B4-BE49-F238E27FC236}">
                  <a16:creationId xmlns:a16="http://schemas.microsoft.com/office/drawing/2014/main" id="{29BE30C6-7609-9663-5F5A-4C5B58E8F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621" y="3512670"/>
              <a:ext cx="89412" cy="54878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6" name="Freeform 712">
              <a:extLst>
                <a:ext uri="{FF2B5EF4-FFF2-40B4-BE49-F238E27FC236}">
                  <a16:creationId xmlns:a16="http://schemas.microsoft.com/office/drawing/2014/main" id="{6416A161-DDC1-2CFD-95EE-E4D8D269F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1972" y="3450223"/>
              <a:ext cx="194918" cy="128679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7" name="Freeform 713">
              <a:extLst>
                <a:ext uri="{FF2B5EF4-FFF2-40B4-BE49-F238E27FC236}">
                  <a16:creationId xmlns:a16="http://schemas.microsoft.com/office/drawing/2014/main" id="{27131B4B-B216-311C-06A0-C1FDBEB61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2023" y="3917636"/>
              <a:ext cx="146636" cy="128679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8" name="Freeform 714">
              <a:extLst>
                <a:ext uri="{FF2B5EF4-FFF2-40B4-BE49-F238E27FC236}">
                  <a16:creationId xmlns:a16="http://schemas.microsoft.com/office/drawing/2014/main" id="{297B6A6E-9C78-E0DE-C819-13A99D4D6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99" y="4144719"/>
              <a:ext cx="116236" cy="145713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9" name="Freeform 715">
              <a:extLst>
                <a:ext uri="{FF2B5EF4-FFF2-40B4-BE49-F238E27FC236}">
                  <a16:creationId xmlns:a16="http://schemas.microsoft.com/office/drawing/2014/main" id="{51A8D191-C0A3-94F6-9457-65AD0630B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0299" y="2672461"/>
              <a:ext cx="1571876" cy="1084325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0" name="Freeform 716">
              <a:extLst>
                <a:ext uri="{FF2B5EF4-FFF2-40B4-BE49-F238E27FC236}">
                  <a16:creationId xmlns:a16="http://schemas.microsoft.com/office/drawing/2014/main" id="{BA4FC610-C5BA-0EE1-85EA-E23393257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2727341"/>
              <a:ext cx="822596" cy="378471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1" name="Freeform 721">
              <a:extLst>
                <a:ext uri="{FF2B5EF4-FFF2-40B4-BE49-F238E27FC236}">
                  <a16:creationId xmlns:a16="http://schemas.microsoft.com/office/drawing/2014/main" id="{AC9C6BC4-3999-7227-1BAE-96474ECED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904" y="2649754"/>
              <a:ext cx="78683" cy="177883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2" name="Freeform 722">
              <a:extLst>
                <a:ext uri="{FF2B5EF4-FFF2-40B4-BE49-F238E27FC236}">
                  <a16:creationId xmlns:a16="http://schemas.microsoft.com/office/drawing/2014/main" id="{30B0FEB3-EB7D-004B-5E1A-BC2B4A8BC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0998" y="2821957"/>
              <a:ext cx="78683" cy="128679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3" name="Freeform 723">
              <a:extLst>
                <a:ext uri="{FF2B5EF4-FFF2-40B4-BE49-F238E27FC236}">
                  <a16:creationId xmlns:a16="http://schemas.microsoft.com/office/drawing/2014/main" id="{9FB6CED4-0B89-0E38-86DC-C51AAECC3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6124" y="3200431"/>
              <a:ext cx="110872" cy="140035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4" name="Freeform 724">
              <a:extLst>
                <a:ext uri="{FF2B5EF4-FFF2-40B4-BE49-F238E27FC236}">
                  <a16:creationId xmlns:a16="http://schemas.microsoft.com/office/drawing/2014/main" id="{6EC69B9D-F7F4-79EC-3AA0-790E73006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630" y="3050934"/>
              <a:ext cx="168096" cy="172206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737" name="Group 736">
            <a:extLst>
              <a:ext uri="{FF2B5EF4-FFF2-40B4-BE49-F238E27FC236}">
                <a16:creationId xmlns:a16="http://schemas.microsoft.com/office/drawing/2014/main" id="{FA0C9B0F-F8F1-FB58-A984-FAC06E113283}"/>
              </a:ext>
            </a:extLst>
          </p:cNvPr>
          <p:cNvGrpSpPr/>
          <p:nvPr/>
        </p:nvGrpSpPr>
        <p:grpSpPr>
          <a:xfrm>
            <a:off x="5192038" y="1588138"/>
            <a:ext cx="2448118" cy="1835592"/>
            <a:chOff x="5192038" y="1588138"/>
            <a:chExt cx="2448118" cy="1835592"/>
          </a:xfrm>
          <a:solidFill>
            <a:schemeClr val="accent1"/>
          </a:solidFill>
        </p:grpSpPr>
        <p:sp>
          <p:nvSpPr>
            <p:cNvPr id="738" name="Freeform 511">
              <a:extLst>
                <a:ext uri="{FF2B5EF4-FFF2-40B4-BE49-F238E27FC236}">
                  <a16:creationId xmlns:a16="http://schemas.microsoft.com/office/drawing/2014/main" id="{27E9C59F-45FF-2DF1-970A-42B9B307A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315" y="2388608"/>
              <a:ext cx="10730" cy="22709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9" name="Freeform 404">
              <a:extLst>
                <a:ext uri="{FF2B5EF4-FFF2-40B4-BE49-F238E27FC236}">
                  <a16:creationId xmlns:a16="http://schemas.microsoft.com/office/drawing/2014/main" id="{A323F969-469D-DB57-9F78-031C31607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471871"/>
              <a:ext cx="209225" cy="334947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0" name="Freeform 405">
              <a:extLst>
                <a:ext uri="{FF2B5EF4-FFF2-40B4-BE49-F238E27FC236}">
                  <a16:creationId xmlns:a16="http://schemas.microsoft.com/office/drawing/2014/main" id="{CD55BB10-8744-6E63-C14E-1720374D6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2121785"/>
              <a:ext cx="282545" cy="145713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1" name="Freeform 406">
              <a:extLst>
                <a:ext uri="{FF2B5EF4-FFF2-40B4-BE49-F238E27FC236}">
                  <a16:creationId xmlns:a16="http://schemas.microsoft.com/office/drawing/2014/main" id="{1416C52B-1E69-1677-847F-5F690872F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1588138"/>
              <a:ext cx="472099" cy="34441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2" name="Freeform 488">
              <a:extLst>
                <a:ext uri="{FF2B5EF4-FFF2-40B4-BE49-F238E27FC236}">
                  <a16:creationId xmlns:a16="http://schemas.microsoft.com/office/drawing/2014/main" id="{319C9C36-A47E-B1F5-60CF-CBD5C8B129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3" name="Freeform 493">
              <a:extLst>
                <a:ext uri="{FF2B5EF4-FFF2-40B4-BE49-F238E27FC236}">
                  <a16:creationId xmlns:a16="http://schemas.microsoft.com/office/drawing/2014/main" id="{3B5A0EC6-8A49-D2F6-A110-E97C065B8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045257"/>
              <a:ext cx="30400" cy="60555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4" name="Freeform 494">
              <a:extLst>
                <a:ext uri="{FF2B5EF4-FFF2-40B4-BE49-F238E27FC236}">
                  <a16:creationId xmlns:a16="http://schemas.microsoft.com/office/drawing/2014/main" id="{99396506-75E2-6B48-FC1C-234D1DB9C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3100137"/>
              <a:ext cx="46495" cy="832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5" name="Freeform 495">
              <a:extLst>
                <a:ext uri="{FF2B5EF4-FFF2-40B4-BE49-F238E27FC236}">
                  <a16:creationId xmlns:a16="http://schemas.microsoft.com/office/drawing/2014/main" id="{2DE793D0-BC27-8CD8-BDC4-B89E639ED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3200431"/>
              <a:ext cx="84047" cy="54878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6" name="Freeform 496">
              <a:extLst>
                <a:ext uri="{FF2B5EF4-FFF2-40B4-BE49-F238E27FC236}">
                  <a16:creationId xmlns:a16="http://schemas.microsoft.com/office/drawing/2014/main" id="{E92D9CE3-B553-912A-C46E-583640FA06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464" y="3278018"/>
              <a:ext cx="67953" cy="39739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7" name="Freeform 497">
              <a:extLst>
                <a:ext uri="{FF2B5EF4-FFF2-40B4-BE49-F238E27FC236}">
                  <a16:creationId xmlns:a16="http://schemas.microsoft.com/office/drawing/2014/main" id="{6336E33C-9D2F-FA15-D9AE-96C61B734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5" y="3283695"/>
              <a:ext cx="78683" cy="22709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8" name="Freeform 498">
              <a:extLst>
                <a:ext uri="{FF2B5EF4-FFF2-40B4-BE49-F238E27FC236}">
                  <a16:creationId xmlns:a16="http://schemas.microsoft.com/office/drawing/2014/main" id="{58D286E0-6550-E00A-9949-C9B745A92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592" y="2466194"/>
              <a:ext cx="37553" cy="39739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9" name="Freeform 499">
              <a:extLst>
                <a:ext uri="{FF2B5EF4-FFF2-40B4-BE49-F238E27FC236}">
                  <a16:creationId xmlns:a16="http://schemas.microsoft.com/office/drawing/2014/main" id="{DBD6AC13-0793-40A7-F1CB-5B188233D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1956" y="2451056"/>
              <a:ext cx="26823" cy="1513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0" name="Freeform 500">
              <a:extLst>
                <a:ext uri="{FF2B5EF4-FFF2-40B4-BE49-F238E27FC236}">
                  <a16:creationId xmlns:a16="http://schemas.microsoft.com/office/drawing/2014/main" id="{9C1BEBA6-CB8B-818D-B035-B3E051CD8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2872" y="2488902"/>
              <a:ext cx="30400" cy="54878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1" name="Freeform 501">
              <a:extLst>
                <a:ext uri="{FF2B5EF4-FFF2-40B4-BE49-F238E27FC236}">
                  <a16:creationId xmlns:a16="http://schemas.microsoft.com/office/drawing/2014/main" id="{F16FCC17-F1C6-FD25-9335-5D01BCF9C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394284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2" name="Freeform 502">
              <a:extLst>
                <a:ext uri="{FF2B5EF4-FFF2-40B4-BE49-F238E27FC236}">
                  <a16:creationId xmlns:a16="http://schemas.microsoft.com/office/drawing/2014/main" id="{61C6C399-6D58-15DF-264A-6C8ED3252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566488"/>
              <a:ext cx="30400" cy="51094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3" name="Freeform 503">
              <a:extLst>
                <a:ext uri="{FF2B5EF4-FFF2-40B4-BE49-F238E27FC236}">
                  <a16:creationId xmlns:a16="http://schemas.microsoft.com/office/drawing/2014/main" id="{C0CF829C-4F78-6EF3-B100-3F2052CB2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2590" y="2577843"/>
              <a:ext cx="42917" cy="45416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4" name="Freeform 504">
              <a:extLst>
                <a:ext uri="{FF2B5EF4-FFF2-40B4-BE49-F238E27FC236}">
                  <a16:creationId xmlns:a16="http://schemas.microsoft.com/office/drawing/2014/main" id="{78861E3F-A544-B29C-AF56-0A8E48708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822" y="3151230"/>
              <a:ext cx="25036" cy="20817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5" name="Freeform 505">
              <a:extLst>
                <a:ext uri="{FF2B5EF4-FFF2-40B4-BE49-F238E27FC236}">
                  <a16:creationId xmlns:a16="http://schemas.microsoft.com/office/drawing/2014/main" id="{F898280D-638F-09A4-1034-9E165B391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311" y="2471871"/>
              <a:ext cx="32188" cy="34061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6" name="Freeform 506">
              <a:extLst>
                <a:ext uri="{FF2B5EF4-FFF2-40B4-BE49-F238E27FC236}">
                  <a16:creationId xmlns:a16="http://schemas.microsoft.com/office/drawing/2014/main" id="{0E77DD75-0AE2-AC39-910E-D40812A0CE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408" y="2511610"/>
              <a:ext cx="16094" cy="17031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7" name="Freeform 507">
              <a:extLst>
                <a:ext uri="{FF2B5EF4-FFF2-40B4-BE49-F238E27FC236}">
                  <a16:creationId xmlns:a16="http://schemas.microsoft.com/office/drawing/2014/main" id="{69ABD489-9077-529C-7074-BD70192B76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28643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8" name="Freeform 508">
              <a:extLst>
                <a:ext uri="{FF2B5EF4-FFF2-40B4-BE49-F238E27FC236}">
                  <a16:creationId xmlns:a16="http://schemas.microsoft.com/office/drawing/2014/main" id="{91B4E013-05FD-E5B5-E4C8-AB29E11D23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43781"/>
              <a:ext cx="5364" cy="1135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9" name="Freeform 509">
              <a:extLst>
                <a:ext uri="{FF2B5EF4-FFF2-40B4-BE49-F238E27FC236}">
                  <a16:creationId xmlns:a16="http://schemas.microsoft.com/office/drawing/2014/main" id="{26F5BE71-71C6-B6D0-9C3D-DC7355581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55134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0" name="Freeform 510">
              <a:extLst>
                <a:ext uri="{FF2B5EF4-FFF2-40B4-BE49-F238E27FC236}">
                  <a16:creationId xmlns:a16="http://schemas.microsoft.com/office/drawing/2014/main" id="{50659EA0-D4D8-4F4A-E25C-B7CE8C2ED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631" y="2638398"/>
              <a:ext cx="5364" cy="1135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1" name="Rectangle 613">
              <a:extLst>
                <a:ext uri="{FF2B5EF4-FFF2-40B4-BE49-F238E27FC236}">
                  <a16:creationId xmlns:a16="http://schemas.microsoft.com/office/drawing/2014/main" id="{FD61A456-C953-731A-9BB8-EEEAAB39DC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685" y="2038520"/>
              <a:ext cx="1790" cy="1894"/>
            </a:xfrm>
            <a:prstGeom prst="rect">
              <a:avLst/>
            </a:pr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2" name="Freeform 645">
              <a:extLst>
                <a:ext uri="{FF2B5EF4-FFF2-40B4-BE49-F238E27FC236}">
                  <a16:creationId xmlns:a16="http://schemas.microsoft.com/office/drawing/2014/main" id="{7B8457BB-69A2-4ADE-E211-E27CA3200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2761402"/>
              <a:ext cx="162732" cy="9461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3" name="Freeform 646">
              <a:extLst>
                <a:ext uri="{FF2B5EF4-FFF2-40B4-BE49-F238E27FC236}">
                  <a16:creationId xmlns:a16="http://schemas.microsoft.com/office/drawing/2014/main" id="{2135EECF-2A09-1C95-1737-6ABB46A00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224" y="2838989"/>
              <a:ext cx="194918" cy="8894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4" name="Freeform 647">
              <a:extLst>
                <a:ext uri="{FF2B5EF4-FFF2-40B4-BE49-F238E27FC236}">
                  <a16:creationId xmlns:a16="http://schemas.microsoft.com/office/drawing/2014/main" id="{A6F1976C-3E2E-047C-96FA-1816B8387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9270" y="2905222"/>
              <a:ext cx="298639" cy="306562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5" name="Freeform 648">
              <a:extLst>
                <a:ext uri="{FF2B5EF4-FFF2-40B4-BE49-F238E27FC236}">
                  <a16:creationId xmlns:a16="http://schemas.microsoft.com/office/drawing/2014/main" id="{B112D1B8-89A0-68EF-031F-6BAB48F67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730" y="2922253"/>
              <a:ext cx="141272" cy="140035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6" name="Freeform 649">
              <a:extLst>
                <a:ext uri="{FF2B5EF4-FFF2-40B4-BE49-F238E27FC236}">
                  <a16:creationId xmlns:a16="http://schemas.microsoft.com/office/drawing/2014/main" id="{632B9EC1-5EE6-D649-49D6-A33B08EA6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901" y="2761402"/>
              <a:ext cx="346921" cy="316025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7" name="Freeform 650">
              <a:extLst>
                <a:ext uri="{FF2B5EF4-FFF2-40B4-BE49-F238E27FC236}">
                  <a16:creationId xmlns:a16="http://schemas.microsoft.com/office/drawing/2014/main" id="{159FA240-B14C-B421-6645-4571881CB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810" y="2884407"/>
              <a:ext cx="116236" cy="832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8" name="Freeform 651">
              <a:extLst>
                <a:ext uri="{FF2B5EF4-FFF2-40B4-BE49-F238E27FC236}">
                  <a16:creationId xmlns:a16="http://schemas.microsoft.com/office/drawing/2014/main" id="{8A8B8C50-CFFD-CB5B-7471-1D997AD78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457" y="2750048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9" name="Freeform 652">
              <a:extLst>
                <a:ext uri="{FF2B5EF4-FFF2-40B4-BE49-F238E27FC236}">
                  <a16:creationId xmlns:a16="http://schemas.microsoft.com/office/drawing/2014/main" id="{09EEE09C-6725-3718-CACF-5BF2D64A9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8870" y="2801142"/>
              <a:ext cx="19671" cy="20817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0" name="Freeform 653">
              <a:extLst>
                <a:ext uri="{FF2B5EF4-FFF2-40B4-BE49-F238E27FC236}">
                  <a16:creationId xmlns:a16="http://schemas.microsoft.com/office/drawing/2014/main" id="{4A795C73-287F-9509-87B3-B3A2E168B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4493" y="2672461"/>
              <a:ext cx="105509" cy="10029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1" name="Freeform 654">
              <a:extLst>
                <a:ext uri="{FF2B5EF4-FFF2-40B4-BE49-F238E27FC236}">
                  <a16:creationId xmlns:a16="http://schemas.microsoft.com/office/drawing/2014/main" id="{E681AD53-3830-57D6-8735-6178EEA8A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2505932"/>
              <a:ext cx="78683" cy="123003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2" name="Freeform 655">
              <a:extLst>
                <a:ext uri="{FF2B5EF4-FFF2-40B4-BE49-F238E27FC236}">
                  <a16:creationId xmlns:a16="http://schemas.microsoft.com/office/drawing/2014/main" id="{B4DA20B2-1843-0A9E-1D1D-070AA4D38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234" y="2617584"/>
              <a:ext cx="234261" cy="287639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3" name="Freeform 656">
              <a:extLst>
                <a:ext uri="{FF2B5EF4-FFF2-40B4-BE49-F238E27FC236}">
                  <a16:creationId xmlns:a16="http://schemas.microsoft.com/office/drawing/2014/main" id="{D27F92AF-6F8C-022F-CC9E-A3CBB7E66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706524"/>
              <a:ext cx="466735" cy="293317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4" name="Freeform 657">
              <a:extLst>
                <a:ext uri="{FF2B5EF4-FFF2-40B4-BE49-F238E27FC236}">
                  <a16:creationId xmlns:a16="http://schemas.microsoft.com/office/drawing/2014/main" id="{D94D8682-6700-1F81-6780-E2A3741B6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685" y="2816280"/>
              <a:ext cx="157367" cy="68125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5" name="Freeform 658">
              <a:extLst>
                <a:ext uri="{FF2B5EF4-FFF2-40B4-BE49-F238E27FC236}">
                  <a16:creationId xmlns:a16="http://schemas.microsoft.com/office/drawing/2014/main" id="{EB94E598-7676-21C3-524F-914F2DFA6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566488"/>
              <a:ext cx="246779" cy="194915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6" name="Freeform 659">
              <a:extLst>
                <a:ext uri="{FF2B5EF4-FFF2-40B4-BE49-F238E27FC236}">
                  <a16:creationId xmlns:a16="http://schemas.microsoft.com/office/drawing/2014/main" id="{2806F8CC-96E7-AC24-1ADF-7E57E39F1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555134"/>
              <a:ext cx="152001" cy="105974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7" name="Freeform 660">
              <a:extLst>
                <a:ext uri="{FF2B5EF4-FFF2-40B4-BE49-F238E27FC236}">
                  <a16:creationId xmlns:a16="http://schemas.microsoft.com/office/drawing/2014/main" id="{749B533A-ED16-E896-2CB3-12277B66E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488902"/>
              <a:ext cx="187768" cy="10029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8" name="Freeform 661">
              <a:extLst>
                <a:ext uri="{FF2B5EF4-FFF2-40B4-BE49-F238E27FC236}">
                  <a16:creationId xmlns:a16="http://schemas.microsoft.com/office/drawing/2014/main" id="{2E877F4E-772E-F90A-B2AF-AB838D090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428347"/>
              <a:ext cx="125179" cy="832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9" name="Freeform 662">
              <a:extLst>
                <a:ext uri="{FF2B5EF4-FFF2-40B4-BE49-F238E27FC236}">
                  <a16:creationId xmlns:a16="http://schemas.microsoft.com/office/drawing/2014/main" id="{6DFB183E-1F90-8CF0-DD8D-12C059DAB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600552"/>
              <a:ext cx="84048" cy="43525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0" name="Freeform 663">
              <a:extLst>
                <a:ext uri="{FF2B5EF4-FFF2-40B4-BE49-F238E27FC236}">
                  <a16:creationId xmlns:a16="http://schemas.microsoft.com/office/drawing/2014/main" id="{6D4D6702-F01F-FD2F-8E40-4B2EB7CBE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2611904"/>
              <a:ext cx="250355" cy="232761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1" name="Freeform 664">
              <a:extLst>
                <a:ext uri="{FF2B5EF4-FFF2-40B4-BE49-F238E27FC236}">
                  <a16:creationId xmlns:a16="http://schemas.microsoft.com/office/drawing/2014/main" id="{D90F8475-0008-42D8-3416-E8799206C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2856021"/>
              <a:ext cx="241415" cy="1665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2" name="Freeform 665">
              <a:extLst>
                <a:ext uri="{FF2B5EF4-FFF2-40B4-BE49-F238E27FC236}">
                  <a16:creationId xmlns:a16="http://schemas.microsoft.com/office/drawing/2014/main" id="{4CFEDA3F-28C0-26CA-3AD1-4D94F87C9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922" y="2850344"/>
              <a:ext cx="87624" cy="111652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3" name="Freeform 666">
              <a:extLst>
                <a:ext uri="{FF2B5EF4-FFF2-40B4-BE49-F238E27FC236}">
                  <a16:creationId xmlns:a16="http://schemas.microsoft.com/office/drawing/2014/main" id="{942FD18C-EF9F-3C89-B1B9-2CD25A43B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687" y="2910898"/>
              <a:ext cx="51859" cy="56771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4" name="Freeform 667">
              <a:extLst>
                <a:ext uri="{FF2B5EF4-FFF2-40B4-BE49-F238E27FC236}">
                  <a16:creationId xmlns:a16="http://schemas.microsoft.com/office/drawing/2014/main" id="{26C17B9A-00E8-AE0D-3DE3-CABCA4D81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999840"/>
              <a:ext cx="168096" cy="105974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5" name="Freeform 668">
              <a:extLst>
                <a:ext uri="{FF2B5EF4-FFF2-40B4-BE49-F238E27FC236}">
                  <a16:creationId xmlns:a16="http://schemas.microsoft.com/office/drawing/2014/main" id="{15330D57-FA3B-875A-F463-FE8AD0002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590" y="2973347"/>
              <a:ext cx="94778" cy="832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6" name="Freeform 669">
              <a:extLst>
                <a:ext uri="{FF2B5EF4-FFF2-40B4-BE49-F238E27FC236}">
                  <a16:creationId xmlns:a16="http://schemas.microsoft.com/office/drawing/2014/main" id="{25189012-D52B-D87D-49F8-B9559E463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43" y="2933607"/>
              <a:ext cx="116236" cy="149496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7" name="Freeform 670">
              <a:extLst>
                <a:ext uri="{FF2B5EF4-FFF2-40B4-BE49-F238E27FC236}">
                  <a16:creationId xmlns:a16="http://schemas.microsoft.com/office/drawing/2014/main" id="{F5EF1CE1-CD42-1543-3063-4E08F896E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955" y="2844667"/>
              <a:ext cx="184192" cy="105974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8" name="Freeform 671">
              <a:extLst>
                <a:ext uri="{FF2B5EF4-FFF2-40B4-BE49-F238E27FC236}">
                  <a16:creationId xmlns:a16="http://schemas.microsoft.com/office/drawing/2014/main" id="{E25EBCD0-393C-9051-39C6-D54CB1034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460" y="3083105"/>
              <a:ext cx="162732" cy="177883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9" name="Freeform 672">
              <a:extLst>
                <a:ext uri="{FF2B5EF4-FFF2-40B4-BE49-F238E27FC236}">
                  <a16:creationId xmlns:a16="http://schemas.microsoft.com/office/drawing/2014/main" id="{905510AA-2EAA-F41B-A59A-B4FF94E3CD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099" y="3073641"/>
              <a:ext cx="78683" cy="54878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7" name="Freeform 673">
              <a:extLst>
                <a:ext uri="{FF2B5EF4-FFF2-40B4-BE49-F238E27FC236}">
                  <a16:creationId xmlns:a16="http://schemas.microsoft.com/office/drawing/2014/main" id="{927990A8-CCEF-478F-0B3D-E568E7AE2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003" y="3056612"/>
              <a:ext cx="46495" cy="10029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8" name="Freeform 674">
              <a:extLst>
                <a:ext uri="{FF2B5EF4-FFF2-40B4-BE49-F238E27FC236}">
                  <a16:creationId xmlns:a16="http://schemas.microsoft.com/office/drawing/2014/main" id="{A20AA019-63EB-9064-4089-8471EBC59A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3067966"/>
              <a:ext cx="67953" cy="49203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9" name="Freeform 675">
              <a:extLst>
                <a:ext uri="{FF2B5EF4-FFF2-40B4-BE49-F238E27FC236}">
                  <a16:creationId xmlns:a16="http://schemas.microsoft.com/office/drawing/2014/main" id="{C0E6E9C3-3844-A593-1A3E-B64031D4B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6644" y="3100134"/>
              <a:ext cx="100143" cy="8894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0" name="Freeform 677">
              <a:extLst>
                <a:ext uri="{FF2B5EF4-FFF2-40B4-BE49-F238E27FC236}">
                  <a16:creationId xmlns:a16="http://schemas.microsoft.com/office/drawing/2014/main" id="{01235F9F-E521-3A16-1DA6-CF66EF526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927" y="3151230"/>
              <a:ext cx="41131" cy="32171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1" name="Freeform 678">
              <a:extLst>
                <a:ext uri="{FF2B5EF4-FFF2-40B4-BE49-F238E27FC236}">
                  <a16:creationId xmlns:a16="http://schemas.microsoft.com/office/drawing/2014/main" id="{530E7DBB-F0B7-17E7-D16D-3757E655F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3324" y="3016870"/>
              <a:ext cx="184192" cy="10029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2" name="Freeform 679">
              <a:extLst>
                <a:ext uri="{FF2B5EF4-FFF2-40B4-BE49-F238E27FC236}">
                  <a16:creationId xmlns:a16="http://schemas.microsoft.com/office/drawing/2014/main" id="{1285BAB4-D7B4-E7D5-5437-D5FDAC79A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293" y="3083105"/>
              <a:ext cx="141272" cy="117328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3" name="Freeform 687">
              <a:extLst>
                <a:ext uri="{FF2B5EF4-FFF2-40B4-BE49-F238E27FC236}">
                  <a16:creationId xmlns:a16="http://schemas.microsoft.com/office/drawing/2014/main" id="{5EA479FB-D2B0-C800-2294-160D511A3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4" name="Freeform 717">
              <a:extLst>
                <a:ext uri="{FF2B5EF4-FFF2-40B4-BE49-F238E27FC236}">
                  <a16:creationId xmlns:a16="http://schemas.microsoft.com/office/drawing/2014/main" id="{3528F6F6-6B7E-1EAD-5E16-4235A52F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000672"/>
              <a:ext cx="329038" cy="59988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5" name="Freeform 718">
              <a:extLst>
                <a:ext uri="{FF2B5EF4-FFF2-40B4-BE49-F238E27FC236}">
                  <a16:creationId xmlns:a16="http://schemas.microsoft.com/office/drawing/2014/main" id="{6B1FEA58-D4F3-B861-27C5-A5C559D07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1556" y="1955256"/>
              <a:ext cx="282545" cy="467415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6" name="Freeform 719">
              <a:extLst>
                <a:ext uri="{FF2B5EF4-FFF2-40B4-BE49-F238E27FC236}">
                  <a16:creationId xmlns:a16="http://schemas.microsoft.com/office/drawing/2014/main" id="{063425DB-F479-2F07-925D-B953112C1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410" y="1900376"/>
              <a:ext cx="670595" cy="59420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7" name="Freeform 725">
              <a:extLst>
                <a:ext uri="{FF2B5EF4-FFF2-40B4-BE49-F238E27FC236}">
                  <a16:creationId xmlns:a16="http://schemas.microsoft.com/office/drawing/2014/main" id="{92BB3347-849B-5B8E-1760-CFB8897E5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266" y="2611904"/>
              <a:ext cx="125179" cy="138141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8" name="Freeform 726">
              <a:extLst>
                <a:ext uri="{FF2B5EF4-FFF2-40B4-BE49-F238E27FC236}">
                  <a16:creationId xmlns:a16="http://schemas.microsoft.com/office/drawing/2014/main" id="{E9B80DA6-A4D3-B64C-38AA-8E9889E27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5853" y="2606229"/>
              <a:ext cx="84048" cy="54878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9" name="Freeform 727">
              <a:extLst>
                <a:ext uri="{FF2B5EF4-FFF2-40B4-BE49-F238E27FC236}">
                  <a16:creationId xmlns:a16="http://schemas.microsoft.com/office/drawing/2014/main" id="{52AA5114-C853-C5D5-38ED-CB270A4E2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22548"/>
              <a:ext cx="329038" cy="25547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0" name="Freeform 728">
              <a:extLst>
                <a:ext uri="{FF2B5EF4-FFF2-40B4-BE49-F238E27FC236}">
                  <a16:creationId xmlns:a16="http://schemas.microsoft.com/office/drawing/2014/main" id="{F048A0D3-FB4E-451E-ABF5-17D6B8A9F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77428"/>
              <a:ext cx="84048" cy="168422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sp>
        <p:nvSpPr>
          <p:cNvPr id="821" name="Freeform 677">
            <a:extLst>
              <a:ext uri="{FF2B5EF4-FFF2-40B4-BE49-F238E27FC236}">
                <a16:creationId xmlns:a16="http://schemas.microsoft.com/office/drawing/2014/main" id="{48F04BE3-0A90-1062-C424-3998930407C0}"/>
              </a:ext>
            </a:extLst>
          </p:cNvPr>
          <p:cNvSpPr>
            <a:spLocks/>
          </p:cNvSpPr>
          <p:nvPr/>
        </p:nvSpPr>
        <p:spPr bwMode="auto">
          <a:xfrm>
            <a:off x="6974927" y="3151230"/>
            <a:ext cx="41131" cy="32171"/>
          </a:xfrm>
          <a:custGeom>
            <a:avLst/>
            <a:gdLst>
              <a:gd name="T0" fmla="*/ 1 w 8"/>
              <a:gd name="T1" fmla="*/ 1 h 6"/>
              <a:gd name="T2" fmla="*/ 3 w 8"/>
              <a:gd name="T3" fmla="*/ 4 h 6"/>
              <a:gd name="T4" fmla="*/ 8 w 8"/>
              <a:gd name="T5" fmla="*/ 6 h 6"/>
              <a:gd name="T6" fmla="*/ 0 w 8"/>
              <a:gd name="T7" fmla="*/ 0 h 6"/>
              <a:gd name="T8" fmla="*/ 1 w 8"/>
              <a:gd name="T9" fmla="*/ 1 h 6"/>
              <a:gd name="T10" fmla="*/ 1 w 8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1"/>
                </a:moveTo>
                <a:cubicBezTo>
                  <a:pt x="2" y="1"/>
                  <a:pt x="2" y="3"/>
                  <a:pt x="3" y="4"/>
                </a:cubicBezTo>
                <a:cubicBezTo>
                  <a:pt x="5" y="4"/>
                  <a:pt x="6" y="5"/>
                  <a:pt x="8" y="6"/>
                </a:cubicBezTo>
                <a:cubicBezTo>
                  <a:pt x="7" y="2"/>
                  <a:pt x="3" y="1"/>
                  <a:pt x="0" y="0"/>
                </a:cubicBezTo>
                <a:cubicBezTo>
                  <a:pt x="0" y="1"/>
                  <a:pt x="0" y="1"/>
                  <a:pt x="1" y="1"/>
                </a:cubicBezTo>
                <a:cubicBezTo>
                  <a:pt x="2" y="1"/>
                  <a:pt x="0" y="1"/>
                  <a:pt x="1" y="1"/>
                </a:cubicBez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 panose="020F0502020204030204" pitchFamily="34" charset="0"/>
              <a:ea typeface="理想品牌字体 2022"/>
              <a:cs typeface="+mn-cs"/>
            </a:endParaRPr>
          </a:p>
        </p:txBody>
      </p:sp>
      <p:grpSp>
        <p:nvGrpSpPr>
          <p:cNvPr id="822" name="Group 821">
            <a:extLst>
              <a:ext uri="{FF2B5EF4-FFF2-40B4-BE49-F238E27FC236}">
                <a16:creationId xmlns:a16="http://schemas.microsoft.com/office/drawing/2014/main" id="{E6FECE21-18F7-9F99-5C26-A06DEB6F8661}"/>
              </a:ext>
            </a:extLst>
          </p:cNvPr>
          <p:cNvGrpSpPr/>
          <p:nvPr/>
        </p:nvGrpSpPr>
        <p:grpSpPr>
          <a:xfrm>
            <a:off x="5379804" y="3234493"/>
            <a:ext cx="1766795" cy="2094846"/>
            <a:chOff x="5379804" y="3234493"/>
            <a:chExt cx="1766795" cy="2094846"/>
          </a:xfrm>
          <a:solidFill>
            <a:schemeClr val="bg2"/>
          </a:solidFill>
        </p:grpSpPr>
        <p:sp>
          <p:nvSpPr>
            <p:cNvPr id="823" name="Freeform 486">
              <a:extLst>
                <a:ext uri="{FF2B5EF4-FFF2-40B4-BE49-F238E27FC236}">
                  <a16:creationId xmlns:a16="http://schemas.microsoft.com/office/drawing/2014/main" id="{AB62DBD6-1876-1970-B090-296F03CE8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2009" y="4657553"/>
              <a:ext cx="189554" cy="387933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4" name="Freeform 729">
              <a:extLst>
                <a:ext uri="{FF2B5EF4-FFF2-40B4-BE49-F238E27FC236}">
                  <a16:creationId xmlns:a16="http://schemas.microsoft.com/office/drawing/2014/main" id="{EE1DD936-1557-8A72-4F17-A85E82042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4600779"/>
              <a:ext cx="277180" cy="490123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5" name="Freeform 730">
              <a:extLst>
                <a:ext uri="{FF2B5EF4-FFF2-40B4-BE49-F238E27FC236}">
                  <a16:creationId xmlns:a16="http://schemas.microsoft.com/office/drawing/2014/main" id="{B5AE99B8-1989-EBDB-1D62-C73B95116A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0194" y="4585640"/>
              <a:ext cx="84048" cy="210054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6" name="Freeform 731">
              <a:extLst>
                <a:ext uri="{FF2B5EF4-FFF2-40B4-BE49-F238E27FC236}">
                  <a16:creationId xmlns:a16="http://schemas.microsoft.com/office/drawing/2014/main" id="{21304269-4AD0-2E79-5885-24487AF2A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861" y="4545901"/>
              <a:ext cx="314732" cy="278179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7" name="Freeform 732">
              <a:extLst>
                <a:ext uri="{FF2B5EF4-FFF2-40B4-BE49-F238E27FC236}">
                  <a16:creationId xmlns:a16="http://schemas.microsoft.com/office/drawing/2014/main" id="{2BDCEF54-D7BB-7A73-2F63-8570BCBE60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6236" y="4795693"/>
              <a:ext cx="334403" cy="35008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8" name="Freeform 733">
              <a:extLst>
                <a:ext uri="{FF2B5EF4-FFF2-40B4-BE49-F238E27FC236}">
                  <a16:creationId xmlns:a16="http://schemas.microsoft.com/office/drawing/2014/main" id="{C1811801-EDDD-47E4-E28C-337D79C4A8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167429"/>
              <a:ext cx="477465" cy="527971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9" name="Freeform 734">
              <a:extLst>
                <a:ext uri="{FF2B5EF4-FFF2-40B4-BE49-F238E27FC236}">
                  <a16:creationId xmlns:a16="http://schemas.microsoft.com/office/drawing/2014/main" id="{F4EA7E00-9831-4562-BE5C-1032E927E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812" y="4479669"/>
              <a:ext cx="295062" cy="35008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0" name="Freeform 735">
              <a:extLst>
                <a:ext uri="{FF2B5EF4-FFF2-40B4-BE49-F238E27FC236}">
                  <a16:creationId xmlns:a16="http://schemas.microsoft.com/office/drawing/2014/main" id="{7777FFFA-42D9-35B1-B4E2-4DC01D597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8" y="4812725"/>
              <a:ext cx="241415" cy="266824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1" name="Freeform 736">
              <a:extLst>
                <a:ext uri="{FF2B5EF4-FFF2-40B4-BE49-F238E27FC236}">
                  <a16:creationId xmlns:a16="http://schemas.microsoft.com/office/drawing/2014/main" id="{366C1ADA-05DD-8703-BA76-3830EC9CF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909" y="4757845"/>
              <a:ext cx="205650" cy="193021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4" name="Freeform 737">
              <a:extLst>
                <a:ext uri="{FF2B5EF4-FFF2-40B4-BE49-F238E27FC236}">
                  <a16:creationId xmlns:a16="http://schemas.microsoft.com/office/drawing/2014/main" id="{70D9C290-E9A6-3D89-9C92-F832DE4B8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5045484"/>
              <a:ext cx="51859" cy="62449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5" name="Freeform 738">
              <a:extLst>
                <a:ext uri="{FF2B5EF4-FFF2-40B4-BE49-F238E27FC236}">
                  <a16:creationId xmlns:a16="http://schemas.microsoft.com/office/drawing/2014/main" id="{44685124-5752-0274-69D1-8A37800969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319" y="4945190"/>
              <a:ext cx="414874" cy="384149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6" name="Freeform 739">
              <a:extLst>
                <a:ext uri="{FF2B5EF4-FFF2-40B4-BE49-F238E27FC236}">
                  <a16:creationId xmlns:a16="http://schemas.microsoft.com/office/drawing/2014/main" id="{EAFE88A8-F299-2546-54E8-510084DEA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56" y="5128749"/>
              <a:ext cx="67953" cy="73803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7" name="Freeform 740">
              <a:extLst>
                <a:ext uri="{FF2B5EF4-FFF2-40B4-BE49-F238E27FC236}">
                  <a16:creationId xmlns:a16="http://schemas.microsoft.com/office/drawing/2014/main" id="{06343E7B-8AB3-0C5D-63BD-7DA0E44E3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439927"/>
              <a:ext cx="26823" cy="45416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8" name="Freeform 741">
              <a:extLst>
                <a:ext uri="{FF2B5EF4-FFF2-40B4-BE49-F238E27FC236}">
                  <a16:creationId xmlns:a16="http://schemas.microsoft.com/office/drawing/2014/main" id="{167CD2AC-0A5E-6E31-C4F6-F5D94000D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0" y="4212845"/>
              <a:ext cx="182402" cy="2497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9" name="Freeform 742">
              <a:extLst>
                <a:ext uri="{FF2B5EF4-FFF2-40B4-BE49-F238E27FC236}">
                  <a16:creationId xmlns:a16="http://schemas.microsoft.com/office/drawing/2014/main" id="{A2924D82-7154-3271-DFAF-89819C2FC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4012254"/>
              <a:ext cx="334403" cy="2497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0" name="Freeform 743">
              <a:extLst>
                <a:ext uri="{FF2B5EF4-FFF2-40B4-BE49-F238E27FC236}">
                  <a16:creationId xmlns:a16="http://schemas.microsoft.com/office/drawing/2014/main" id="{711911AA-7CEC-6AB4-1AFB-A340F8DE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7" y="3656490"/>
              <a:ext cx="613372" cy="456060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1" name="Freeform 744">
              <a:extLst>
                <a:ext uri="{FF2B5EF4-FFF2-40B4-BE49-F238E27FC236}">
                  <a16:creationId xmlns:a16="http://schemas.microsoft.com/office/drawing/2014/main" id="{A67758A8-8308-B469-4FCE-F7E779056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225" y="3667844"/>
              <a:ext cx="430969" cy="562032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2" name="Freeform 745">
              <a:extLst>
                <a:ext uri="{FF2B5EF4-FFF2-40B4-BE49-F238E27FC236}">
                  <a16:creationId xmlns:a16="http://schemas.microsoft.com/office/drawing/2014/main" id="{501D59AF-89BC-8A72-9EB8-4A56BD362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8549" y="3811664"/>
              <a:ext cx="168096" cy="160852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3" name="Freeform 746">
              <a:extLst>
                <a:ext uri="{FF2B5EF4-FFF2-40B4-BE49-F238E27FC236}">
                  <a16:creationId xmlns:a16="http://schemas.microsoft.com/office/drawing/2014/main" id="{9AF7098A-0456-E486-C0FF-F31BE4E34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23" y="3889252"/>
              <a:ext cx="388051" cy="340625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4" name="Freeform 747">
              <a:extLst>
                <a:ext uri="{FF2B5EF4-FFF2-40B4-BE49-F238E27FC236}">
                  <a16:creationId xmlns:a16="http://schemas.microsoft.com/office/drawing/2014/main" id="{61AA89E2-9B49-A16E-1890-6333100DA4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594" y="3989547"/>
              <a:ext cx="456005" cy="461736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5" name="Freeform 748">
              <a:extLst>
                <a:ext uri="{FF2B5EF4-FFF2-40B4-BE49-F238E27FC236}">
                  <a16:creationId xmlns:a16="http://schemas.microsoft.com/office/drawing/2014/main" id="{7C35DD5E-0547-BD3D-22B0-BE2B0CF221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6245" y="3963053"/>
              <a:ext cx="46495" cy="60555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6" name="Freeform 749">
              <a:extLst>
                <a:ext uri="{FF2B5EF4-FFF2-40B4-BE49-F238E27FC236}">
                  <a16:creationId xmlns:a16="http://schemas.microsoft.com/office/drawing/2014/main" id="{DC5FD945-CE31-49DF-F8CE-93B7326620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512" y="4207169"/>
              <a:ext cx="135906" cy="155174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7" name="Freeform 750">
              <a:extLst>
                <a:ext uri="{FF2B5EF4-FFF2-40B4-BE49-F238E27FC236}">
                  <a16:creationId xmlns:a16="http://schemas.microsoft.com/office/drawing/2014/main" id="{68F70670-4324-C4E6-0575-A72D3ADFB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85050"/>
              <a:ext cx="51859" cy="54878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8" name="Freeform 751">
              <a:extLst>
                <a:ext uri="{FF2B5EF4-FFF2-40B4-BE49-F238E27FC236}">
                  <a16:creationId xmlns:a16="http://schemas.microsoft.com/office/drawing/2014/main" id="{4DF3E21B-FF62-3B15-33EB-3876D8EC5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50989"/>
              <a:ext cx="57223" cy="51094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9" name="Freeform 752">
              <a:extLst>
                <a:ext uri="{FF2B5EF4-FFF2-40B4-BE49-F238E27FC236}">
                  <a16:creationId xmlns:a16="http://schemas.microsoft.com/office/drawing/2014/main" id="{EDF483ED-1D8B-7D69-49DA-16B5D8EC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147" y="4333956"/>
              <a:ext cx="282545" cy="323595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0" name="Freeform 753">
              <a:extLst>
                <a:ext uri="{FF2B5EF4-FFF2-40B4-BE49-F238E27FC236}">
                  <a16:creationId xmlns:a16="http://schemas.microsoft.com/office/drawing/2014/main" id="{5B55A640-E83E-E1DE-D419-0E63C532F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918" y="4256369"/>
              <a:ext cx="141272" cy="172206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1" name="Freeform 754">
              <a:extLst>
                <a:ext uri="{FF2B5EF4-FFF2-40B4-BE49-F238E27FC236}">
                  <a16:creationId xmlns:a16="http://schemas.microsoft.com/office/drawing/2014/main" id="{87D27ACF-9D4E-FD29-BA13-6BE37DE0A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59" y="4256369"/>
              <a:ext cx="59013" cy="39739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2" name="Freeform 755">
              <a:extLst>
                <a:ext uri="{FF2B5EF4-FFF2-40B4-BE49-F238E27FC236}">
                  <a16:creationId xmlns:a16="http://schemas.microsoft.com/office/drawing/2014/main" id="{6EC4F273-CFFE-157D-A20F-36554B1E6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957377"/>
              <a:ext cx="193132" cy="316025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4" name="Freeform 756">
              <a:extLst>
                <a:ext uri="{FF2B5EF4-FFF2-40B4-BE49-F238E27FC236}">
                  <a16:creationId xmlns:a16="http://schemas.microsoft.com/office/drawing/2014/main" id="{01EE0411-F091-F8D8-5777-F57716168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540" y="3972515"/>
              <a:ext cx="78683" cy="172206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5" name="Freeform 757">
              <a:extLst>
                <a:ext uri="{FF2B5EF4-FFF2-40B4-BE49-F238E27FC236}">
                  <a16:creationId xmlns:a16="http://schemas.microsoft.com/office/drawing/2014/main" id="{77F13FD4-55AE-BA22-4E49-BC905CB49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187" y="3928989"/>
              <a:ext cx="309368" cy="283855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6" name="Freeform 758">
              <a:extLst>
                <a:ext uri="{FF2B5EF4-FFF2-40B4-BE49-F238E27FC236}">
                  <a16:creationId xmlns:a16="http://schemas.microsoft.com/office/drawing/2014/main" id="{DD6F62AC-84EB-9051-820A-B999FF543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44" y="3894926"/>
              <a:ext cx="221744" cy="1665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7" name="Freeform 759">
              <a:extLst>
                <a:ext uri="{FF2B5EF4-FFF2-40B4-BE49-F238E27FC236}">
                  <a16:creationId xmlns:a16="http://schemas.microsoft.com/office/drawing/2014/main" id="{BDBBF08C-29FC-A398-8673-E1BE5EB33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9" y="4017930"/>
              <a:ext cx="51859" cy="132467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8" name="Freeform 760">
              <a:extLst>
                <a:ext uri="{FF2B5EF4-FFF2-40B4-BE49-F238E27FC236}">
                  <a16:creationId xmlns:a16="http://schemas.microsoft.com/office/drawing/2014/main" id="{3EC8BFAC-BE5E-C33C-5DA9-848889130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8" y="4023608"/>
              <a:ext cx="166307" cy="172206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9" name="Freeform 761">
              <a:extLst>
                <a:ext uri="{FF2B5EF4-FFF2-40B4-BE49-F238E27FC236}">
                  <a16:creationId xmlns:a16="http://schemas.microsoft.com/office/drawing/2014/main" id="{EE71EC69-CCC9-024F-EC31-3D6DD5BBC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820" y="4017930"/>
              <a:ext cx="119815" cy="1665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0" name="Freeform 762">
              <a:extLst>
                <a:ext uri="{FF2B5EF4-FFF2-40B4-BE49-F238E27FC236}">
                  <a16:creationId xmlns:a16="http://schemas.microsoft.com/office/drawing/2014/main" id="{C0BFD0D7-826B-998B-83F8-C6263C917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947" y="4034961"/>
              <a:ext cx="78683" cy="100296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1" name="Freeform 763">
              <a:extLst>
                <a:ext uri="{FF2B5EF4-FFF2-40B4-BE49-F238E27FC236}">
                  <a16:creationId xmlns:a16="http://schemas.microsoft.com/office/drawing/2014/main" id="{B6B0DC28-13A0-0A38-CCBC-B9A118A40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441" y="4078486"/>
              <a:ext cx="116236" cy="117328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2" name="Freeform 764">
              <a:extLst>
                <a:ext uri="{FF2B5EF4-FFF2-40B4-BE49-F238E27FC236}">
                  <a16:creationId xmlns:a16="http://schemas.microsoft.com/office/drawing/2014/main" id="{D387A467-9C98-AF80-BD36-1D9730992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181" y="3966838"/>
              <a:ext cx="182402" cy="162744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3" name="Freeform 765">
              <a:extLst>
                <a:ext uri="{FF2B5EF4-FFF2-40B4-BE49-F238E27FC236}">
                  <a16:creationId xmlns:a16="http://schemas.microsoft.com/office/drawing/2014/main" id="{B4634D83-F69C-DAEE-2C61-C4F685161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5899" y="3972515"/>
              <a:ext cx="84048" cy="39739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4" name="Freeform 766">
              <a:extLst>
                <a:ext uri="{FF2B5EF4-FFF2-40B4-BE49-F238E27FC236}">
                  <a16:creationId xmlns:a16="http://schemas.microsoft.com/office/drawing/2014/main" id="{0C9ABF67-DA51-61F4-1198-2D8EBBDF5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0533" y="3934667"/>
              <a:ext cx="78683" cy="22709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5" name="Freeform 767">
              <a:extLst>
                <a:ext uri="{FF2B5EF4-FFF2-40B4-BE49-F238E27FC236}">
                  <a16:creationId xmlns:a16="http://schemas.microsoft.com/office/drawing/2014/main" id="{09EFBCA0-3C43-1C88-5093-EB3EC4B28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544841"/>
              <a:ext cx="314732" cy="378471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6" name="Freeform 768">
              <a:extLst>
                <a:ext uri="{FF2B5EF4-FFF2-40B4-BE49-F238E27FC236}">
                  <a16:creationId xmlns:a16="http://schemas.microsoft.com/office/drawing/2014/main" id="{599E7482-A67E-77CF-26C8-864C187A6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857080"/>
              <a:ext cx="152001" cy="126790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17" name="Freeform 769">
              <a:extLst>
                <a:ext uri="{FF2B5EF4-FFF2-40B4-BE49-F238E27FC236}">
                  <a16:creationId xmlns:a16="http://schemas.microsoft.com/office/drawing/2014/main" id="{A5DB8516-C029-311D-F502-18C7C8F24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2135" y="3607288"/>
              <a:ext cx="439910" cy="43335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2" name="Freeform 770">
              <a:extLst>
                <a:ext uri="{FF2B5EF4-FFF2-40B4-BE49-F238E27FC236}">
                  <a16:creationId xmlns:a16="http://schemas.microsoft.com/office/drawing/2014/main" id="{16F12CCD-07B0-34EA-A398-83D71AF2C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4545" y="3406696"/>
              <a:ext cx="289696" cy="298994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3" name="Freeform 771">
              <a:extLst>
                <a:ext uri="{FF2B5EF4-FFF2-40B4-BE49-F238E27FC236}">
                  <a16:creationId xmlns:a16="http://schemas.microsoft.com/office/drawing/2014/main" id="{C2ADEEEF-064B-5F57-7193-39E7FB473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363" y="3234493"/>
              <a:ext cx="105509" cy="215730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4" name="Freeform 772">
              <a:extLst>
                <a:ext uri="{FF2B5EF4-FFF2-40B4-BE49-F238E27FC236}">
                  <a16:creationId xmlns:a16="http://schemas.microsoft.com/office/drawing/2014/main" id="{299C6042-2CFB-FE3C-2201-7237388C81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60" y="3361280"/>
              <a:ext cx="398782" cy="406860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5" name="Freeform 773">
              <a:extLst>
                <a:ext uri="{FF2B5EF4-FFF2-40B4-BE49-F238E27FC236}">
                  <a16:creationId xmlns:a16="http://schemas.microsoft.com/office/drawing/2014/main" id="{EA340DC3-1403-3B9B-6D99-4E4D45189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169" y="3533487"/>
              <a:ext cx="219956" cy="189237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6" name="Freeform 774">
              <a:extLst>
                <a:ext uri="{FF2B5EF4-FFF2-40B4-BE49-F238E27FC236}">
                  <a16:creationId xmlns:a16="http://schemas.microsoft.com/office/drawing/2014/main" id="{D171F137-5123-270C-4614-7670E901C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676" y="3266662"/>
              <a:ext cx="314732" cy="266824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7" name="Freeform 775">
              <a:extLst>
                <a:ext uri="{FF2B5EF4-FFF2-40B4-BE49-F238E27FC236}">
                  <a16:creationId xmlns:a16="http://schemas.microsoft.com/office/drawing/2014/main" id="{F1DFD3AA-A79B-90B9-AAFC-7ACA585C3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9" y="3240170"/>
              <a:ext cx="543629" cy="548785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838" name="Group 837">
            <a:extLst>
              <a:ext uri="{FF2B5EF4-FFF2-40B4-BE49-F238E27FC236}">
                <a16:creationId xmlns:a16="http://schemas.microsoft.com/office/drawing/2014/main" id="{2633B8DD-0668-41A8-F0FE-0288F75E2ADD}"/>
              </a:ext>
            </a:extLst>
          </p:cNvPr>
          <p:cNvGrpSpPr/>
          <p:nvPr/>
        </p:nvGrpSpPr>
        <p:grpSpPr>
          <a:xfrm>
            <a:off x="8725627" y="4402083"/>
            <a:ext cx="1718510" cy="1339795"/>
            <a:chOff x="8725627" y="4402083"/>
            <a:chExt cx="1718510" cy="1339795"/>
          </a:xfrm>
          <a:solidFill>
            <a:schemeClr val="bg2"/>
          </a:solidFill>
        </p:grpSpPr>
        <p:sp>
          <p:nvSpPr>
            <p:cNvPr id="839" name="Freeform 403">
              <a:extLst>
                <a:ext uri="{FF2B5EF4-FFF2-40B4-BE49-F238E27FC236}">
                  <a16:creationId xmlns:a16="http://schemas.microsoft.com/office/drawing/2014/main" id="{77F4DA85-E73A-C857-FD8F-A174BF753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5627" y="4629165"/>
              <a:ext cx="1069375" cy="845885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0" name="Freeform 472">
              <a:extLst>
                <a:ext uri="{FF2B5EF4-FFF2-40B4-BE49-F238E27FC236}">
                  <a16:creationId xmlns:a16="http://schemas.microsoft.com/office/drawing/2014/main" id="{8D2EDE96-0433-3921-F28B-495700B67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9096" y="4439930"/>
              <a:ext cx="109084" cy="66233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1" name="Freeform 473">
              <a:extLst>
                <a:ext uri="{FF2B5EF4-FFF2-40B4-BE49-F238E27FC236}">
                  <a16:creationId xmlns:a16="http://schemas.microsoft.com/office/drawing/2014/main" id="{91AB4CD6-A9EB-43BF-1BD8-151FDE9AF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6463" y="4473991"/>
              <a:ext cx="46495" cy="60555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2" name="Freeform 474">
              <a:extLst>
                <a:ext uri="{FF2B5EF4-FFF2-40B4-BE49-F238E27FC236}">
                  <a16:creationId xmlns:a16="http://schemas.microsoft.com/office/drawing/2014/main" id="{42A63EEE-5282-7BC5-5E6B-74DD48BBD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2369" y="4585643"/>
              <a:ext cx="30400" cy="32169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3" name="Freeform 475">
              <a:extLst>
                <a:ext uri="{FF2B5EF4-FFF2-40B4-BE49-F238E27FC236}">
                  <a16:creationId xmlns:a16="http://schemas.microsoft.com/office/drawing/2014/main" id="{AA8ED7EB-0EEC-8427-0169-84880F49F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0181" y="4534548"/>
              <a:ext cx="48283" cy="34061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4" name="Freeform 476">
              <a:extLst>
                <a:ext uri="{FF2B5EF4-FFF2-40B4-BE49-F238E27FC236}">
                  <a16:creationId xmlns:a16="http://schemas.microsoft.com/office/drawing/2014/main" id="{148C99E7-3DBB-D82D-4F70-687036E71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3686" y="4511839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5" name="Freeform 477">
              <a:extLst>
                <a:ext uri="{FF2B5EF4-FFF2-40B4-BE49-F238E27FC236}">
                  <a16:creationId xmlns:a16="http://schemas.microsoft.com/office/drawing/2014/main" id="{89DE5A9C-508C-8C9D-E13D-179F1D0A3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4901666"/>
              <a:ext cx="84047" cy="66233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6" name="Freeform 478">
              <a:extLst>
                <a:ext uri="{FF2B5EF4-FFF2-40B4-BE49-F238E27FC236}">
                  <a16:creationId xmlns:a16="http://schemas.microsoft.com/office/drawing/2014/main" id="{625CE8A7-18D6-C70D-34C5-F62B62EF5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2136" y="5323663"/>
              <a:ext cx="59013" cy="77587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7" name="Freeform 479">
              <a:extLst>
                <a:ext uri="{FF2B5EF4-FFF2-40B4-BE49-F238E27FC236}">
                  <a16:creationId xmlns:a16="http://schemas.microsoft.com/office/drawing/2014/main" id="{84EE8A92-E903-37DF-590D-39606F650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8231" y="5395573"/>
              <a:ext cx="135906" cy="168421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8" name="Freeform 480">
              <a:extLst>
                <a:ext uri="{FF2B5EF4-FFF2-40B4-BE49-F238E27FC236}">
                  <a16:creationId xmlns:a16="http://schemas.microsoft.com/office/drawing/2014/main" id="{51E29803-131A-3329-E1BE-22362D9F2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407" y="5518577"/>
              <a:ext cx="205650" cy="211945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9" name="Freeform 481">
              <a:extLst>
                <a:ext uri="{FF2B5EF4-FFF2-40B4-BE49-F238E27FC236}">
                  <a16:creationId xmlns:a16="http://schemas.microsoft.com/office/drawing/2014/main" id="{C6D87297-A93E-B567-2E1E-531867A7D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1594" y="5730523"/>
              <a:ext cx="10730" cy="11355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0" name="Freeform 482">
              <a:extLst>
                <a:ext uri="{FF2B5EF4-FFF2-40B4-BE49-F238E27FC236}">
                  <a16:creationId xmlns:a16="http://schemas.microsoft.com/office/drawing/2014/main" id="{7E69B32D-153E-7111-E3E2-A5001DB95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8954" y="5524255"/>
              <a:ext cx="100143" cy="100296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1" name="Freeform 483">
              <a:extLst>
                <a:ext uri="{FF2B5EF4-FFF2-40B4-BE49-F238E27FC236}">
                  <a16:creationId xmlns:a16="http://schemas.microsoft.com/office/drawing/2014/main" id="{14EB2778-D22A-E10C-B30F-71506244B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7637" y="5495869"/>
              <a:ext cx="16094" cy="28387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2" name="Freeform 484">
              <a:extLst>
                <a:ext uri="{FF2B5EF4-FFF2-40B4-BE49-F238E27FC236}">
                  <a16:creationId xmlns:a16="http://schemas.microsoft.com/office/drawing/2014/main" id="{E9252C51-8D65-3CC7-ED34-3612D9953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130" y="5495869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3" name="Freeform 612">
              <a:extLst>
                <a:ext uri="{FF2B5EF4-FFF2-40B4-BE49-F238E27FC236}">
                  <a16:creationId xmlns:a16="http://schemas.microsoft.com/office/drawing/2014/main" id="{6D3B7D92-C7A0-BB5C-82FE-039B7B86D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4362" y="5357725"/>
              <a:ext cx="35765" cy="28387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4" name="Freeform 708">
              <a:extLst>
                <a:ext uri="{FF2B5EF4-FFF2-40B4-BE49-F238E27FC236}">
                  <a16:creationId xmlns:a16="http://schemas.microsoft.com/office/drawing/2014/main" id="{B55425AC-1A71-AD18-9887-5601D85D91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810" y="4402083"/>
              <a:ext cx="268238" cy="227083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855" name="Group 854">
            <a:extLst>
              <a:ext uri="{FF2B5EF4-FFF2-40B4-BE49-F238E27FC236}">
                <a16:creationId xmlns:a16="http://schemas.microsoft.com/office/drawing/2014/main" id="{39DC00E2-890C-156C-A3A5-261E48B65645}"/>
              </a:ext>
            </a:extLst>
          </p:cNvPr>
          <p:cNvGrpSpPr/>
          <p:nvPr/>
        </p:nvGrpSpPr>
        <p:grpSpPr>
          <a:xfrm>
            <a:off x="3650564" y="3972515"/>
            <a:ext cx="1278601" cy="2085385"/>
            <a:chOff x="3650564" y="3972515"/>
            <a:chExt cx="1278601" cy="2085385"/>
          </a:xfrm>
          <a:solidFill>
            <a:schemeClr val="bg2"/>
          </a:solidFill>
        </p:grpSpPr>
        <p:sp>
          <p:nvSpPr>
            <p:cNvPr id="856" name="Freeform 512">
              <a:extLst>
                <a:ext uri="{FF2B5EF4-FFF2-40B4-BE49-F238E27FC236}">
                  <a16:creationId xmlns:a16="http://schemas.microsoft.com/office/drawing/2014/main" id="{16FD4FE4-4730-5429-4713-E9193A4A1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5929221"/>
              <a:ext cx="62589" cy="34061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7" name="Freeform 513">
              <a:extLst>
                <a:ext uri="{FF2B5EF4-FFF2-40B4-BE49-F238E27FC236}">
                  <a16:creationId xmlns:a16="http://schemas.microsoft.com/office/drawing/2014/main" id="{7C331953-2807-147F-F45C-8347A6F0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977" y="5963282"/>
              <a:ext cx="46495" cy="34061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8" name="Freeform 514">
              <a:extLst>
                <a:ext uri="{FF2B5EF4-FFF2-40B4-BE49-F238E27FC236}">
                  <a16:creationId xmlns:a16="http://schemas.microsoft.com/office/drawing/2014/main" id="{9DDABEA8-7AEE-7194-7842-8859EB231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5919759"/>
              <a:ext cx="41130" cy="26493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9" name="Freeform 515">
              <a:extLst>
                <a:ext uri="{FF2B5EF4-FFF2-40B4-BE49-F238E27FC236}">
                  <a16:creationId xmlns:a16="http://schemas.microsoft.com/office/drawing/2014/main" id="{BE630C10-6EC5-3E1C-9086-0143A27C6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5940575"/>
              <a:ext cx="42917" cy="28387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0" name="Freeform 516">
              <a:extLst>
                <a:ext uri="{FF2B5EF4-FFF2-40B4-BE49-F238E27FC236}">
                  <a16:creationId xmlns:a16="http://schemas.microsoft.com/office/drawing/2014/main" id="{58B91FDF-EA1A-00FB-D9F6-8E7108740B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902726"/>
              <a:ext cx="16094" cy="17031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1" name="Freeform 517">
              <a:extLst>
                <a:ext uri="{FF2B5EF4-FFF2-40B4-BE49-F238E27FC236}">
                  <a16:creationId xmlns:a16="http://schemas.microsoft.com/office/drawing/2014/main" id="{FAE1AB3F-4F52-9BB9-DAE1-945AC0C38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857310"/>
              <a:ext cx="37553" cy="39739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2" name="Freeform 518">
              <a:extLst>
                <a:ext uri="{FF2B5EF4-FFF2-40B4-BE49-F238E27FC236}">
                  <a16:creationId xmlns:a16="http://schemas.microsoft.com/office/drawing/2014/main" id="{4A3DEE71-3086-1298-7DC4-9FA6C1834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059" y="5785401"/>
              <a:ext cx="26823" cy="60555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3" name="Freeform 519">
              <a:extLst>
                <a:ext uri="{FF2B5EF4-FFF2-40B4-BE49-F238E27FC236}">
                  <a16:creationId xmlns:a16="http://schemas.microsoft.com/office/drawing/2014/main" id="{C042F32E-633F-2F98-BF3D-13B205899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834601"/>
              <a:ext cx="16094" cy="34061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4" name="Freeform 520">
              <a:extLst>
                <a:ext uri="{FF2B5EF4-FFF2-40B4-BE49-F238E27FC236}">
                  <a16:creationId xmlns:a16="http://schemas.microsoft.com/office/drawing/2014/main" id="{266B8818-2FB7-B107-29E4-18BC9E6A45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762692"/>
              <a:ext cx="26823" cy="39739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5" name="Freeform 521">
              <a:extLst>
                <a:ext uri="{FF2B5EF4-FFF2-40B4-BE49-F238E27FC236}">
                  <a16:creationId xmlns:a16="http://schemas.microsoft.com/office/drawing/2014/main" id="{AA268655-F36A-29FF-3707-94163367D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520" y="5652934"/>
              <a:ext cx="26823" cy="26493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6" name="Freeform 522">
              <a:extLst>
                <a:ext uri="{FF2B5EF4-FFF2-40B4-BE49-F238E27FC236}">
                  <a16:creationId xmlns:a16="http://schemas.microsoft.com/office/drawing/2014/main" id="{DF778B17-E251-9C28-8EB0-EF1BE8096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884" y="5552640"/>
              <a:ext cx="32188" cy="60555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7" name="Freeform 523">
              <a:extLst>
                <a:ext uri="{FF2B5EF4-FFF2-40B4-BE49-F238E27FC236}">
                  <a16:creationId xmlns:a16="http://schemas.microsoft.com/office/drawing/2014/main" id="{39C29A95-CFA0-498C-63F8-1FF4EDAD8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390" y="3978192"/>
              <a:ext cx="25036" cy="22709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8" name="Freeform 524">
              <a:extLst>
                <a:ext uri="{FF2B5EF4-FFF2-40B4-BE49-F238E27FC236}">
                  <a16:creationId xmlns:a16="http://schemas.microsoft.com/office/drawing/2014/main" id="{2CB5175E-6694-A024-E019-6578D0033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710" y="4012255"/>
              <a:ext cx="30400" cy="43525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9" name="Freeform 525">
              <a:extLst>
                <a:ext uri="{FF2B5EF4-FFF2-40B4-BE49-F238E27FC236}">
                  <a16:creationId xmlns:a16="http://schemas.microsoft.com/office/drawing/2014/main" id="{E501C342-E8AC-2DC8-852B-13905C9A8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620" y="4313141"/>
              <a:ext cx="73319" cy="71909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0" name="Freeform 614">
              <a:extLst>
                <a:ext uri="{FF2B5EF4-FFF2-40B4-BE49-F238E27FC236}">
                  <a16:creationId xmlns:a16="http://schemas.microsoft.com/office/drawing/2014/main" id="{5D2E019C-BDC7-C8D1-DD55-9F16F3D2FA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66" y="5191198"/>
              <a:ext cx="53647" cy="49203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1" name="Freeform 616">
              <a:extLst>
                <a:ext uri="{FF2B5EF4-FFF2-40B4-BE49-F238E27FC236}">
                  <a16:creationId xmlns:a16="http://schemas.microsoft.com/office/drawing/2014/main" id="{C6C23E3D-B3B2-F6B0-4543-59250E9B7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519" y="5940572"/>
              <a:ext cx="94778" cy="8894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2" name="Freeform 617">
              <a:extLst>
                <a:ext uri="{FF2B5EF4-FFF2-40B4-BE49-F238E27FC236}">
                  <a16:creationId xmlns:a16="http://schemas.microsoft.com/office/drawing/2014/main" id="{D3B58ED5-22B8-D320-0768-24D12AD6F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379" y="5929221"/>
              <a:ext cx="157367" cy="128679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3" name="Freeform 618">
              <a:extLst>
                <a:ext uri="{FF2B5EF4-FFF2-40B4-BE49-F238E27FC236}">
                  <a16:creationId xmlns:a16="http://schemas.microsoft.com/office/drawing/2014/main" id="{CA470492-0BEC-7001-8233-129FC5CD9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4000900"/>
              <a:ext cx="398782" cy="306562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4" name="Freeform 619">
              <a:extLst>
                <a:ext uri="{FF2B5EF4-FFF2-40B4-BE49-F238E27FC236}">
                  <a16:creationId xmlns:a16="http://schemas.microsoft.com/office/drawing/2014/main" id="{FFAC0936-3885-5384-7790-EFEEFFB70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4084164"/>
              <a:ext cx="135906" cy="211945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5" name="Freeform 620">
              <a:extLst>
                <a:ext uri="{FF2B5EF4-FFF2-40B4-BE49-F238E27FC236}">
                  <a16:creationId xmlns:a16="http://schemas.microsoft.com/office/drawing/2014/main" id="{7DC9C4F0-19C8-BAD8-1118-B352FF86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064" y="4150397"/>
              <a:ext cx="116236" cy="128679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6" name="Freeform 621">
              <a:extLst>
                <a:ext uri="{FF2B5EF4-FFF2-40B4-BE49-F238E27FC236}">
                  <a16:creationId xmlns:a16="http://schemas.microsoft.com/office/drawing/2014/main" id="{8FF12898-9771-1BF3-3D76-B15C5ECCD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842" y="4161753"/>
              <a:ext cx="84048" cy="10029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7" name="Freeform 622">
              <a:extLst>
                <a:ext uri="{FF2B5EF4-FFF2-40B4-BE49-F238E27FC236}">
                  <a16:creationId xmlns:a16="http://schemas.microsoft.com/office/drawing/2014/main" id="{E63C40F9-0EA6-5339-F8E9-585A7523E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3972515"/>
              <a:ext cx="423817" cy="467415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8" name="Freeform 623">
              <a:extLst>
                <a:ext uri="{FF2B5EF4-FFF2-40B4-BE49-F238E27FC236}">
                  <a16:creationId xmlns:a16="http://schemas.microsoft.com/office/drawing/2014/main" id="{9106B19F-3DDA-1B36-7F8D-A667207C0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7787" y="4284754"/>
              <a:ext cx="146636" cy="183561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9" name="Freeform 624">
              <a:extLst>
                <a:ext uri="{FF2B5EF4-FFF2-40B4-BE49-F238E27FC236}">
                  <a16:creationId xmlns:a16="http://schemas.microsoft.com/office/drawing/2014/main" id="{82C5AB6F-4625-69F6-A299-9143A0E6F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693" y="4318817"/>
              <a:ext cx="336192" cy="527971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0" name="Freeform 625">
              <a:extLst>
                <a:ext uri="{FF2B5EF4-FFF2-40B4-BE49-F238E27FC236}">
                  <a16:creationId xmlns:a16="http://schemas.microsoft.com/office/drawing/2014/main" id="{DA0AB707-A444-A83E-41CB-CB80BB08E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19" y="4812725"/>
              <a:ext cx="228896" cy="1178944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1" name="Freeform 626">
              <a:extLst>
                <a:ext uri="{FF2B5EF4-FFF2-40B4-BE49-F238E27FC236}">
                  <a16:creationId xmlns:a16="http://schemas.microsoft.com/office/drawing/2014/main" id="{0BA6E7E0-DDDD-9AC5-2D96-2946B7699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696" y="4585640"/>
              <a:ext cx="336192" cy="387935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2" name="Freeform 627">
              <a:extLst>
                <a:ext uri="{FF2B5EF4-FFF2-40B4-BE49-F238E27FC236}">
                  <a16:creationId xmlns:a16="http://schemas.microsoft.com/office/drawing/2014/main" id="{65CD6159-2861-B37E-43A1-CDA83E6CED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252" y="4861926"/>
              <a:ext cx="236050" cy="246007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3" name="Freeform 628">
              <a:extLst>
                <a:ext uri="{FF2B5EF4-FFF2-40B4-BE49-F238E27FC236}">
                  <a16:creationId xmlns:a16="http://schemas.microsoft.com/office/drawing/2014/main" id="{32F560F1-D64A-176B-1D02-D19983E4C7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6614" y="4178782"/>
              <a:ext cx="1042551" cy="1118388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4" name="Freeform 629">
              <a:extLst>
                <a:ext uri="{FF2B5EF4-FFF2-40B4-BE49-F238E27FC236}">
                  <a16:creationId xmlns:a16="http://schemas.microsoft.com/office/drawing/2014/main" id="{9CB7B2E2-3C08-46EE-8427-7686EB383F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758" y="5179843"/>
              <a:ext cx="141272" cy="155174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5" name="Freeform 630">
              <a:extLst>
                <a:ext uri="{FF2B5EF4-FFF2-40B4-BE49-F238E27FC236}">
                  <a16:creationId xmlns:a16="http://schemas.microsoft.com/office/drawing/2014/main" id="{7F1AD73E-E239-F192-9E32-57283DAE3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4935728"/>
              <a:ext cx="540052" cy="993491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886" name="Group 885">
            <a:extLst>
              <a:ext uri="{FF2B5EF4-FFF2-40B4-BE49-F238E27FC236}">
                <a16:creationId xmlns:a16="http://schemas.microsoft.com/office/drawing/2014/main" id="{84155D84-B50C-9A3B-B1F2-5A714AB267C2}"/>
              </a:ext>
            </a:extLst>
          </p:cNvPr>
          <p:cNvGrpSpPr/>
          <p:nvPr/>
        </p:nvGrpSpPr>
        <p:grpSpPr>
          <a:xfrm>
            <a:off x="1417035" y="1160463"/>
            <a:ext cx="4100465" cy="2935054"/>
            <a:chOff x="1417035" y="1160463"/>
            <a:chExt cx="4100465" cy="2935054"/>
          </a:xfrm>
          <a:solidFill>
            <a:schemeClr val="bg2"/>
          </a:solidFill>
        </p:grpSpPr>
        <p:sp>
          <p:nvSpPr>
            <p:cNvPr id="887" name="Freeform 534">
              <a:extLst>
                <a:ext uri="{FF2B5EF4-FFF2-40B4-BE49-F238E27FC236}">
                  <a16:creationId xmlns:a16="http://schemas.microsoft.com/office/drawing/2014/main" id="{FA278E1F-88D4-85BE-19B9-4F2D6AE6E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123" y="2801142"/>
              <a:ext cx="82259" cy="43525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8" name="Freeform 537">
              <a:extLst>
                <a:ext uri="{FF2B5EF4-FFF2-40B4-BE49-F238E27FC236}">
                  <a16:creationId xmlns:a16="http://schemas.microsoft.com/office/drawing/2014/main" id="{1AF0178B-F095-6B09-348A-CC2B6D31B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299" y="2333728"/>
              <a:ext cx="16094" cy="32169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9" name="Freeform 538">
              <a:extLst>
                <a:ext uri="{FF2B5EF4-FFF2-40B4-BE49-F238E27FC236}">
                  <a16:creationId xmlns:a16="http://schemas.microsoft.com/office/drawing/2014/main" id="{FAF98EB2-63B8-329B-D1DF-24014DD8C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8616" y="2388608"/>
              <a:ext cx="16094" cy="17031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0" name="Freeform 539">
              <a:extLst>
                <a:ext uri="{FF2B5EF4-FFF2-40B4-BE49-F238E27FC236}">
                  <a16:creationId xmlns:a16="http://schemas.microsoft.com/office/drawing/2014/main" id="{37DF2442-7D7E-45F2-368F-E89E5FA1A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388" y="2683817"/>
              <a:ext cx="35765" cy="22709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1" name="Freeform 540">
              <a:extLst>
                <a:ext uri="{FF2B5EF4-FFF2-40B4-BE49-F238E27FC236}">
                  <a16:creationId xmlns:a16="http://schemas.microsoft.com/office/drawing/2014/main" id="{B304206D-8143-536D-1AE7-8C19AD288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611" y="2549459"/>
              <a:ext cx="32188" cy="34061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2" name="Freeform 541">
              <a:extLst>
                <a:ext uri="{FF2B5EF4-FFF2-40B4-BE49-F238E27FC236}">
                  <a16:creationId xmlns:a16="http://schemas.microsoft.com/office/drawing/2014/main" id="{5F1E7B4C-FC0E-42E2-CC37-00BC10A85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517" y="2311019"/>
              <a:ext cx="32188" cy="39739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3" name="Freeform 542">
              <a:extLst>
                <a:ext uri="{FF2B5EF4-FFF2-40B4-BE49-F238E27FC236}">
                  <a16:creationId xmlns:a16="http://schemas.microsoft.com/office/drawing/2014/main" id="{379E2B08-EB6D-CAEC-7B0D-E549BF8B2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9105" y="2288312"/>
              <a:ext cx="62589" cy="34061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4" name="Freeform 543">
              <a:extLst>
                <a:ext uri="{FF2B5EF4-FFF2-40B4-BE49-F238E27FC236}">
                  <a16:creationId xmlns:a16="http://schemas.microsoft.com/office/drawing/2014/main" id="{AA6DAF5D-05AF-0346-E932-6BEB35B75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435" y="2267495"/>
              <a:ext cx="35765" cy="15139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5" name="Freeform 544">
              <a:extLst>
                <a:ext uri="{FF2B5EF4-FFF2-40B4-BE49-F238E27FC236}">
                  <a16:creationId xmlns:a16="http://schemas.microsoft.com/office/drawing/2014/main" id="{4D836275-1F7D-2C89-4029-E008AB5BE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691" y="2155846"/>
              <a:ext cx="178826" cy="132467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6" name="Freeform 545">
              <a:extLst>
                <a:ext uri="{FF2B5EF4-FFF2-40B4-BE49-F238E27FC236}">
                  <a16:creationId xmlns:a16="http://schemas.microsoft.com/office/drawing/2014/main" id="{FD055242-3AB6-5A7F-624D-A46B907710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2144490"/>
              <a:ext cx="35765" cy="28387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7" name="Freeform 546">
              <a:extLst>
                <a:ext uri="{FF2B5EF4-FFF2-40B4-BE49-F238E27FC236}">
                  <a16:creationId xmlns:a16="http://schemas.microsoft.com/office/drawing/2014/main" id="{0C4A5B63-A01C-9EAE-DECC-E27F7B1FB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704" y="2150168"/>
              <a:ext cx="19671" cy="28387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8" name="Freeform 547">
              <a:extLst>
                <a:ext uri="{FF2B5EF4-FFF2-40B4-BE49-F238E27FC236}">
                  <a16:creationId xmlns:a16="http://schemas.microsoft.com/office/drawing/2014/main" id="{BF6DCF5C-9C7F-5E96-1248-254ED9416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421" y="2044198"/>
              <a:ext cx="16094" cy="34061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9" name="Freeform 548">
              <a:extLst>
                <a:ext uri="{FF2B5EF4-FFF2-40B4-BE49-F238E27FC236}">
                  <a16:creationId xmlns:a16="http://schemas.microsoft.com/office/drawing/2014/main" id="{C930F50C-C275-CA37-CE47-ADCADD547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1754666"/>
              <a:ext cx="754643" cy="584739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0" name="Freeform 549">
              <a:extLst>
                <a:ext uri="{FF2B5EF4-FFF2-40B4-BE49-F238E27FC236}">
                  <a16:creationId xmlns:a16="http://schemas.microsoft.com/office/drawing/2014/main" id="{5448997F-390A-F7E4-9029-1E2364BDE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2299667"/>
              <a:ext cx="32188" cy="11355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1" name="Freeform 550">
              <a:extLst>
                <a:ext uri="{FF2B5EF4-FFF2-40B4-BE49-F238E27FC236}">
                  <a16:creationId xmlns:a16="http://schemas.microsoft.com/office/drawing/2014/main" id="{2EEBC226-FEA3-8BEC-CFC9-112855EA7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2055552"/>
              <a:ext cx="42917" cy="11355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2" name="Freeform 551">
              <a:extLst>
                <a:ext uri="{FF2B5EF4-FFF2-40B4-BE49-F238E27FC236}">
                  <a16:creationId xmlns:a16="http://schemas.microsoft.com/office/drawing/2014/main" id="{4986DA98-AC36-D7CC-5928-19968C1D1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565" y="2044198"/>
              <a:ext cx="62589" cy="54878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3" name="Freeform 552">
              <a:extLst>
                <a:ext uri="{FF2B5EF4-FFF2-40B4-BE49-F238E27FC236}">
                  <a16:creationId xmlns:a16="http://schemas.microsoft.com/office/drawing/2014/main" id="{FA350B78-39F9-E9A2-20B5-F988D2F5B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341" y="1994996"/>
              <a:ext cx="35765" cy="20817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4" name="Freeform 553">
              <a:extLst>
                <a:ext uri="{FF2B5EF4-FFF2-40B4-BE49-F238E27FC236}">
                  <a16:creationId xmlns:a16="http://schemas.microsoft.com/office/drawing/2014/main" id="{84596B20-15A8-36D6-1527-67EC1B5EF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201" y="1989318"/>
              <a:ext cx="32188" cy="17031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5" name="Freeform 554">
              <a:extLst>
                <a:ext uri="{FF2B5EF4-FFF2-40B4-BE49-F238E27FC236}">
                  <a16:creationId xmlns:a16="http://schemas.microsoft.com/office/drawing/2014/main" id="{B8FDB54C-29FC-0B04-E410-6C00732F3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6800" y="1977965"/>
              <a:ext cx="25036" cy="11355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6" name="Freeform 555">
              <a:extLst>
                <a:ext uri="{FF2B5EF4-FFF2-40B4-BE49-F238E27FC236}">
                  <a16:creationId xmlns:a16="http://schemas.microsoft.com/office/drawing/2014/main" id="{E7B1D600-1E4E-FB6B-BDC4-53FA21FA9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423" y="1766019"/>
              <a:ext cx="137695" cy="62449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7" name="Freeform 569">
              <a:extLst>
                <a:ext uri="{FF2B5EF4-FFF2-40B4-BE49-F238E27FC236}">
                  <a16:creationId xmlns:a16="http://schemas.microsoft.com/office/drawing/2014/main" id="{BA9ADE25-FC6D-08E2-DBD0-5DD96764D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747" y="1966609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8" name="Freeform 570">
              <a:extLst>
                <a:ext uri="{FF2B5EF4-FFF2-40B4-BE49-F238E27FC236}">
                  <a16:creationId xmlns:a16="http://schemas.microsoft.com/office/drawing/2014/main" id="{C1F00437-219D-3F44-99C3-5CA192A88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195" y="2000672"/>
              <a:ext cx="26823" cy="20817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9" name="Freeform 571">
              <a:extLst>
                <a:ext uri="{FF2B5EF4-FFF2-40B4-BE49-F238E27FC236}">
                  <a16:creationId xmlns:a16="http://schemas.microsoft.com/office/drawing/2014/main" id="{5CBD34C9-BFB9-7942-433E-E470F07D1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7006" y="2021487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0" name="Freeform 572">
              <a:extLst>
                <a:ext uri="{FF2B5EF4-FFF2-40B4-BE49-F238E27FC236}">
                  <a16:creationId xmlns:a16="http://schemas.microsoft.com/office/drawing/2014/main" id="{8E817A40-1548-5703-5F92-767AD638D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788728"/>
              <a:ext cx="482829" cy="2497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1" name="Freeform 573">
              <a:extLst>
                <a:ext uri="{FF2B5EF4-FFF2-40B4-BE49-F238E27FC236}">
                  <a16:creationId xmlns:a16="http://schemas.microsoft.com/office/drawing/2014/main" id="{7B94809A-D3CE-3FDE-9A79-EBC3094D0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464" y="1766019"/>
              <a:ext cx="73319" cy="51094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2" name="Freeform 574">
              <a:extLst>
                <a:ext uri="{FF2B5EF4-FFF2-40B4-BE49-F238E27FC236}">
                  <a16:creationId xmlns:a16="http://schemas.microsoft.com/office/drawing/2014/main" id="{FBB5F241-C153-5B84-17C5-8F4C473AA3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743310"/>
              <a:ext cx="166307" cy="162744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3" name="Freeform 575">
              <a:extLst>
                <a:ext uri="{FF2B5EF4-FFF2-40B4-BE49-F238E27FC236}">
                  <a16:creationId xmlns:a16="http://schemas.microsoft.com/office/drawing/2014/main" id="{D68AED72-1BD8-D321-1A20-CA55BF1D1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737" y="1743310"/>
              <a:ext cx="146636" cy="123003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4" name="Freeform 577">
              <a:extLst>
                <a:ext uri="{FF2B5EF4-FFF2-40B4-BE49-F238E27FC236}">
                  <a16:creationId xmlns:a16="http://schemas.microsoft.com/office/drawing/2014/main" id="{623F1DC0-CE32-CD94-86C1-0CA5F7044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688" y="1677078"/>
              <a:ext cx="37553" cy="22709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5" name="Freeform 578">
              <a:extLst>
                <a:ext uri="{FF2B5EF4-FFF2-40B4-BE49-F238E27FC236}">
                  <a16:creationId xmlns:a16="http://schemas.microsoft.com/office/drawing/2014/main" id="{1EA77E1C-9E06-0365-2F63-1F61963B0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013" y="1576784"/>
              <a:ext cx="314732" cy="157066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6" name="Freeform 579">
              <a:extLst>
                <a:ext uri="{FF2B5EF4-FFF2-40B4-BE49-F238E27FC236}">
                  <a16:creationId xmlns:a16="http://schemas.microsoft.com/office/drawing/2014/main" id="{67CEB92B-EA2A-A21E-1E16-195ABD8CC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639232"/>
              <a:ext cx="53647" cy="37847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7" name="Freeform 581">
              <a:extLst>
                <a:ext uri="{FF2B5EF4-FFF2-40B4-BE49-F238E27FC236}">
                  <a16:creationId xmlns:a16="http://schemas.microsoft.com/office/drawing/2014/main" id="{B47541EB-3BEE-7F20-982D-2CDC17124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602" y="1593813"/>
              <a:ext cx="41130" cy="11355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8" name="Freeform 582">
              <a:extLst>
                <a:ext uri="{FF2B5EF4-FFF2-40B4-BE49-F238E27FC236}">
                  <a16:creationId xmlns:a16="http://schemas.microsoft.com/office/drawing/2014/main" id="{36167AD6-7505-2D11-C37D-8A13EE4EC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368" y="1516229"/>
              <a:ext cx="110872" cy="54878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9" name="Freeform 583">
              <a:extLst>
                <a:ext uri="{FF2B5EF4-FFF2-40B4-BE49-F238E27FC236}">
                  <a16:creationId xmlns:a16="http://schemas.microsoft.com/office/drawing/2014/main" id="{DCC6AC27-7D2D-02B0-161C-14A36AA83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872" y="1527582"/>
              <a:ext cx="41130" cy="22709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0" name="Freeform 584">
              <a:extLst>
                <a:ext uri="{FF2B5EF4-FFF2-40B4-BE49-F238E27FC236}">
                  <a16:creationId xmlns:a16="http://schemas.microsoft.com/office/drawing/2014/main" id="{00506950-78B4-94F4-601E-A60669AB8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097" y="1476488"/>
              <a:ext cx="110872" cy="39739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1" name="Freeform 585">
              <a:extLst>
                <a:ext uri="{FF2B5EF4-FFF2-40B4-BE49-F238E27FC236}">
                  <a16:creationId xmlns:a16="http://schemas.microsoft.com/office/drawing/2014/main" id="{C0BE5E60-1FD6-EA3F-1C0E-18424F94D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334" y="1593813"/>
              <a:ext cx="146636" cy="105974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2" name="Freeform 586">
              <a:extLst>
                <a:ext uri="{FF2B5EF4-FFF2-40B4-BE49-F238E27FC236}">
                  <a16:creationId xmlns:a16="http://schemas.microsoft.com/office/drawing/2014/main" id="{FE253416-0E0F-EDDF-65B5-2C24E35F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241" y="1644908"/>
              <a:ext cx="46495" cy="15139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3" name="Freeform 587">
              <a:extLst>
                <a:ext uri="{FF2B5EF4-FFF2-40B4-BE49-F238E27FC236}">
                  <a16:creationId xmlns:a16="http://schemas.microsoft.com/office/drawing/2014/main" id="{69060595-DB34-F0B9-2FE0-5A1571F50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511" y="1639232"/>
              <a:ext cx="42917" cy="11355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4" name="Freeform 588">
              <a:extLst>
                <a:ext uri="{FF2B5EF4-FFF2-40B4-BE49-F238E27FC236}">
                  <a16:creationId xmlns:a16="http://schemas.microsoft.com/office/drawing/2014/main" id="{AD78CF94-C7D7-4193-2BBA-3286882AA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9052" y="1622199"/>
              <a:ext cx="53647" cy="28387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5" name="Freeform 589">
              <a:extLst>
                <a:ext uri="{FF2B5EF4-FFF2-40B4-BE49-F238E27FC236}">
                  <a16:creationId xmlns:a16="http://schemas.microsoft.com/office/drawing/2014/main" id="{540C986C-9D36-E669-4DD3-08698E960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417" y="1599492"/>
              <a:ext cx="37553" cy="28387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6" name="Freeform 590">
              <a:extLst>
                <a:ext uri="{FF2B5EF4-FFF2-40B4-BE49-F238E27FC236}">
                  <a16:creationId xmlns:a16="http://schemas.microsoft.com/office/drawing/2014/main" id="{A90A3D45-250F-642C-8E75-7BCEBC05E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558" y="1533258"/>
              <a:ext cx="62589" cy="49203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7" name="Freeform 591">
              <a:extLst>
                <a:ext uri="{FF2B5EF4-FFF2-40B4-BE49-F238E27FC236}">
                  <a16:creationId xmlns:a16="http://schemas.microsoft.com/office/drawing/2014/main" id="{1F5718D0-E59E-F537-7B4E-A538049677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527582"/>
              <a:ext cx="46495" cy="17031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8" name="Freeform 592">
              <a:extLst>
                <a:ext uri="{FF2B5EF4-FFF2-40B4-BE49-F238E27FC236}">
                  <a16:creationId xmlns:a16="http://schemas.microsoft.com/office/drawing/2014/main" id="{34E0A6EB-2041-C5E6-3F29-266C2739F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286" y="1438640"/>
              <a:ext cx="187767" cy="105974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9" name="Freeform 593">
              <a:extLst>
                <a:ext uri="{FF2B5EF4-FFF2-40B4-BE49-F238E27FC236}">
                  <a16:creationId xmlns:a16="http://schemas.microsoft.com/office/drawing/2014/main" id="{20B9610E-0F36-CD00-88ED-69AB2EDF0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923" y="1387546"/>
              <a:ext cx="57223" cy="28387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0" name="Freeform 594">
              <a:extLst>
                <a:ext uri="{FF2B5EF4-FFF2-40B4-BE49-F238E27FC236}">
                  <a16:creationId xmlns:a16="http://schemas.microsoft.com/office/drawing/2014/main" id="{2494E162-21C0-FE07-BABA-450951640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18" y="1476488"/>
              <a:ext cx="105506" cy="62449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1" name="Freeform 595">
              <a:extLst>
                <a:ext uri="{FF2B5EF4-FFF2-40B4-BE49-F238E27FC236}">
                  <a16:creationId xmlns:a16="http://schemas.microsoft.com/office/drawing/2014/main" id="{FD33FEA0-398F-5016-8DC2-DF4BEC1818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431" y="1533258"/>
              <a:ext cx="92988" cy="28387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2" name="Freeform 596">
              <a:extLst>
                <a:ext uri="{FF2B5EF4-FFF2-40B4-BE49-F238E27FC236}">
                  <a16:creationId xmlns:a16="http://schemas.microsoft.com/office/drawing/2014/main" id="{0D19B8C0-380B-9AC7-34D0-D8ED5E397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660047"/>
              <a:ext cx="87624" cy="62449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3" name="Freeform 597">
              <a:extLst>
                <a:ext uri="{FF2B5EF4-FFF2-40B4-BE49-F238E27FC236}">
                  <a16:creationId xmlns:a16="http://schemas.microsoft.com/office/drawing/2014/main" id="{28F096D9-FFBA-AD59-E09D-941B4260B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196" y="1644908"/>
              <a:ext cx="21459" cy="15139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4" name="Freeform 598">
              <a:extLst>
                <a:ext uri="{FF2B5EF4-FFF2-40B4-BE49-F238E27FC236}">
                  <a16:creationId xmlns:a16="http://schemas.microsoft.com/office/drawing/2014/main" id="{944EE54A-A115-BD29-A002-85EFA551A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973" y="1544612"/>
              <a:ext cx="46495" cy="32169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5" name="Freeform 599">
              <a:extLst>
                <a:ext uri="{FF2B5EF4-FFF2-40B4-BE49-F238E27FC236}">
                  <a16:creationId xmlns:a16="http://schemas.microsoft.com/office/drawing/2014/main" id="{B2B3FCD3-70F0-2559-49F4-B30B883F50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008" y="1593813"/>
              <a:ext cx="16094" cy="22709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6" name="Freeform 600">
              <a:extLst>
                <a:ext uri="{FF2B5EF4-FFF2-40B4-BE49-F238E27FC236}">
                  <a16:creationId xmlns:a16="http://schemas.microsoft.com/office/drawing/2014/main" id="{DC00BBED-1EBE-6DF0-A983-CE29C1288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336" y="1576784"/>
              <a:ext cx="466735" cy="151390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7" name="Freeform 601">
              <a:extLst>
                <a:ext uri="{FF2B5EF4-FFF2-40B4-BE49-F238E27FC236}">
                  <a16:creationId xmlns:a16="http://schemas.microsoft.com/office/drawing/2014/main" id="{87590675-0D47-C9C9-F325-ABC515742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315637"/>
              <a:ext cx="309368" cy="206268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8" name="Freeform 602">
              <a:extLst>
                <a:ext uri="{FF2B5EF4-FFF2-40B4-BE49-F238E27FC236}">
                  <a16:creationId xmlns:a16="http://schemas.microsoft.com/office/drawing/2014/main" id="{60B6B6A3-FA60-3F9F-3ADC-0B81661F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243" y="1188850"/>
              <a:ext cx="817232" cy="450382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9" name="Freeform 604">
              <a:extLst>
                <a:ext uri="{FF2B5EF4-FFF2-40B4-BE49-F238E27FC236}">
                  <a16:creationId xmlns:a16="http://schemas.microsoft.com/office/drawing/2014/main" id="{5DAAE62C-3615-EDC2-775B-9D7F8C419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931" y="1438640"/>
              <a:ext cx="73319" cy="28387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0" name="Freeform 605">
              <a:extLst>
                <a:ext uri="{FF2B5EF4-FFF2-40B4-BE49-F238E27FC236}">
                  <a16:creationId xmlns:a16="http://schemas.microsoft.com/office/drawing/2014/main" id="{2B791824-5A25-614C-E09A-46B4A35BA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069" y="1461347"/>
              <a:ext cx="30401" cy="11355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1" name="Freeform 606">
              <a:extLst>
                <a:ext uri="{FF2B5EF4-FFF2-40B4-BE49-F238E27FC236}">
                  <a16:creationId xmlns:a16="http://schemas.microsoft.com/office/drawing/2014/main" id="{0C444E52-8350-F026-FB7A-94B3424B8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9977" y="1633554"/>
              <a:ext cx="30401" cy="17033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2" name="Freeform 786">
              <a:extLst>
                <a:ext uri="{FF2B5EF4-FFF2-40B4-BE49-F238E27FC236}">
                  <a16:creationId xmlns:a16="http://schemas.microsoft.com/office/drawing/2014/main" id="{84EC44BC-24F4-8EFA-118C-6A2D2B66B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1800080"/>
              <a:ext cx="89412" cy="54878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3" name="Freeform 788">
              <a:extLst>
                <a:ext uri="{FF2B5EF4-FFF2-40B4-BE49-F238E27FC236}">
                  <a16:creationId xmlns:a16="http://schemas.microsoft.com/office/drawing/2014/main" id="{E518B668-6AFF-CE54-2903-1B3E11284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627" y="1906053"/>
              <a:ext cx="67953" cy="37847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4" name="Freeform 781">
              <a:extLst>
                <a:ext uri="{FF2B5EF4-FFF2-40B4-BE49-F238E27FC236}">
                  <a16:creationId xmlns:a16="http://schemas.microsoft.com/office/drawing/2014/main" id="{83BC57A3-8489-E5B8-9733-E7FBD3A3C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799" y="1183172"/>
              <a:ext cx="48283" cy="22709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5" name="Freeform 777">
              <a:extLst>
                <a:ext uri="{FF2B5EF4-FFF2-40B4-BE49-F238E27FC236}">
                  <a16:creationId xmlns:a16="http://schemas.microsoft.com/office/drawing/2014/main" id="{CFD24C8D-2412-8787-1CEE-A448001FF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112" y="1943902"/>
              <a:ext cx="84048" cy="62449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6" name="Freeform 778">
              <a:extLst>
                <a:ext uri="{FF2B5EF4-FFF2-40B4-BE49-F238E27FC236}">
                  <a16:creationId xmlns:a16="http://schemas.microsoft.com/office/drawing/2014/main" id="{86AFDB03-14F0-7B1E-0C3B-BE6A2C9BF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937" y="1900376"/>
              <a:ext cx="21459" cy="11355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7" name="Freeform 779">
              <a:extLst>
                <a:ext uri="{FF2B5EF4-FFF2-40B4-BE49-F238E27FC236}">
                  <a16:creationId xmlns:a16="http://schemas.microsoft.com/office/drawing/2014/main" id="{5FE047A2-A249-0CE1-D45F-B366491B8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031" y="1243726"/>
              <a:ext cx="57223" cy="34061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8" name="Freeform 780">
              <a:extLst>
                <a:ext uri="{FF2B5EF4-FFF2-40B4-BE49-F238E27FC236}">
                  <a16:creationId xmlns:a16="http://schemas.microsoft.com/office/drawing/2014/main" id="{25DC5963-8A66-6924-31A1-5BA3A649B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068" y="1194523"/>
              <a:ext cx="42917" cy="26493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9" name="Freeform 782">
              <a:extLst>
                <a:ext uri="{FF2B5EF4-FFF2-40B4-BE49-F238E27FC236}">
                  <a16:creationId xmlns:a16="http://schemas.microsoft.com/office/drawing/2014/main" id="{66DF2A22-14F2-90B0-16E8-E46D34E33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816" y="1266435"/>
              <a:ext cx="30401" cy="22709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0" name="Freeform 783">
              <a:extLst>
                <a:ext uri="{FF2B5EF4-FFF2-40B4-BE49-F238E27FC236}">
                  <a16:creationId xmlns:a16="http://schemas.microsoft.com/office/drawing/2014/main" id="{66A47DA8-1CBA-39E0-73C0-E40760527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289142"/>
              <a:ext cx="26823" cy="567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1" name="Freeform 784">
              <a:extLst>
                <a:ext uri="{FF2B5EF4-FFF2-40B4-BE49-F238E27FC236}">
                  <a16:creationId xmlns:a16="http://schemas.microsoft.com/office/drawing/2014/main" id="{307DDCCF-4516-01CE-9995-42C461F6E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605167"/>
              <a:ext cx="21459" cy="39739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2" name="Freeform 789">
              <a:extLst>
                <a:ext uri="{FF2B5EF4-FFF2-40B4-BE49-F238E27FC236}">
                  <a16:creationId xmlns:a16="http://schemas.microsoft.com/office/drawing/2014/main" id="{8F5D59EB-9621-0FE9-062A-C034D21C0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890" y="1960932"/>
              <a:ext cx="21459" cy="34061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3" name="Freeform 790">
              <a:extLst>
                <a:ext uri="{FF2B5EF4-FFF2-40B4-BE49-F238E27FC236}">
                  <a16:creationId xmlns:a16="http://schemas.microsoft.com/office/drawing/2014/main" id="{31BD1B9F-03E3-C16F-3D19-C15E02E26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395" y="1889022"/>
              <a:ext cx="19671" cy="22709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4" name="Freeform 791">
              <a:extLst>
                <a:ext uri="{FF2B5EF4-FFF2-40B4-BE49-F238E27FC236}">
                  <a16:creationId xmlns:a16="http://schemas.microsoft.com/office/drawing/2014/main" id="{B0CC6EE2-D523-8563-710C-D0F4B6BCA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533258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5" name="Freeform 792">
              <a:extLst>
                <a:ext uri="{FF2B5EF4-FFF2-40B4-BE49-F238E27FC236}">
                  <a16:creationId xmlns:a16="http://schemas.microsoft.com/office/drawing/2014/main" id="{011DDF8E-0573-F9AF-D9C4-9FC7C042C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216" y="1472702"/>
              <a:ext cx="16095" cy="9462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6" name="Freeform 793">
              <a:extLst>
                <a:ext uri="{FF2B5EF4-FFF2-40B4-BE49-F238E27FC236}">
                  <a16:creationId xmlns:a16="http://schemas.microsoft.com/office/drawing/2014/main" id="{82D74156-421E-51D5-BD96-9831CF91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449993"/>
              <a:ext cx="14306" cy="17033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7" name="Freeform 794">
              <a:extLst>
                <a:ext uri="{FF2B5EF4-FFF2-40B4-BE49-F238E27FC236}">
                  <a16:creationId xmlns:a16="http://schemas.microsoft.com/office/drawing/2014/main" id="{F9574782-B2B1-4D65-FEFA-BD2A4F3B8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743" y="1561643"/>
              <a:ext cx="26823" cy="3784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8" name="Freeform 795">
              <a:extLst>
                <a:ext uri="{FF2B5EF4-FFF2-40B4-BE49-F238E27FC236}">
                  <a16:creationId xmlns:a16="http://schemas.microsoft.com/office/drawing/2014/main" id="{40D63570-BCFD-C3D6-1A01-D6C1B2407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1561643"/>
              <a:ext cx="32188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9" name="Freeform 796">
              <a:extLst>
                <a:ext uri="{FF2B5EF4-FFF2-40B4-BE49-F238E27FC236}">
                  <a16:creationId xmlns:a16="http://schemas.microsoft.com/office/drawing/2014/main" id="{1935C3A5-25CE-0EDA-268B-16B01C09C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574" y="1209665"/>
              <a:ext cx="21459" cy="11355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0" name="Freeform 776">
              <a:extLst>
                <a:ext uri="{FF2B5EF4-FFF2-40B4-BE49-F238E27FC236}">
                  <a16:creationId xmlns:a16="http://schemas.microsoft.com/office/drawing/2014/main" id="{49754B7D-A06E-AACB-F0B1-F11F54C2B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013" y="1160463"/>
              <a:ext cx="1600487" cy="1262207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1" name="Freeform 785">
              <a:extLst>
                <a:ext uri="{FF2B5EF4-FFF2-40B4-BE49-F238E27FC236}">
                  <a16:creationId xmlns:a16="http://schemas.microsoft.com/office/drawing/2014/main" id="{CEDC8B7A-E506-2B53-2D67-2A87033D67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676" y="1677076"/>
              <a:ext cx="35765" cy="22709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2" name="Freeform 787">
              <a:extLst>
                <a:ext uri="{FF2B5EF4-FFF2-40B4-BE49-F238E27FC236}">
                  <a16:creationId xmlns:a16="http://schemas.microsoft.com/office/drawing/2014/main" id="{1B12AD89-C8C8-E761-8539-92C6A12EC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945" y="1788728"/>
              <a:ext cx="46495" cy="17033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3" name="Freeform 526">
              <a:extLst>
                <a:ext uri="{FF2B5EF4-FFF2-40B4-BE49-F238E27FC236}">
                  <a16:creationId xmlns:a16="http://schemas.microsoft.com/office/drawing/2014/main" id="{1605842B-D634-A4C3-8F02-27F317923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439" y="3800311"/>
              <a:ext cx="51859" cy="22709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4" name="Freeform 527">
              <a:extLst>
                <a:ext uri="{FF2B5EF4-FFF2-40B4-BE49-F238E27FC236}">
                  <a16:creationId xmlns:a16="http://schemas.microsoft.com/office/drawing/2014/main" id="{86C98126-9F1C-3196-FA0C-E7D15CA86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794633"/>
              <a:ext cx="59013" cy="28387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5" name="Freeform 528">
              <a:extLst>
                <a:ext uri="{FF2B5EF4-FFF2-40B4-BE49-F238E27FC236}">
                  <a16:creationId xmlns:a16="http://schemas.microsoft.com/office/drawing/2014/main" id="{7C6B8A4C-72ED-E02E-FAAF-4EB6797864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3667845"/>
              <a:ext cx="271815" cy="100296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6" name="Freeform 529">
              <a:extLst>
                <a:ext uri="{FF2B5EF4-FFF2-40B4-BE49-F238E27FC236}">
                  <a16:creationId xmlns:a16="http://schemas.microsoft.com/office/drawing/2014/main" id="{8351740F-9F13-226E-DC5E-E413A6A4E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607289"/>
              <a:ext cx="21459" cy="20817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7" name="Freeform 530">
              <a:extLst>
                <a:ext uri="{FF2B5EF4-FFF2-40B4-BE49-F238E27FC236}">
                  <a16:creationId xmlns:a16="http://schemas.microsoft.com/office/drawing/2014/main" id="{2C66CD14-DC50-FF0F-A1C7-97F1745B0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708" y="3722724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8" name="Freeform 631">
              <a:extLst>
                <a:ext uri="{FF2B5EF4-FFF2-40B4-BE49-F238E27FC236}">
                  <a16:creationId xmlns:a16="http://schemas.microsoft.com/office/drawing/2014/main" id="{80648E2C-197E-9804-4BF9-F68515638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115" y="3889252"/>
              <a:ext cx="114449" cy="134357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9" name="Freeform 632">
              <a:extLst>
                <a:ext uri="{FF2B5EF4-FFF2-40B4-BE49-F238E27FC236}">
                  <a16:creationId xmlns:a16="http://schemas.microsoft.com/office/drawing/2014/main" id="{7DAAA875-EFDD-206B-F3DC-F66D1FC84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82" y="4012254"/>
              <a:ext cx="89412" cy="832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0" name="Freeform 633">
              <a:extLst>
                <a:ext uri="{FF2B5EF4-FFF2-40B4-BE49-F238E27FC236}">
                  <a16:creationId xmlns:a16="http://schemas.microsoft.com/office/drawing/2014/main" id="{D8E36D53-9552-70A8-0FBF-90A420203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3917636"/>
              <a:ext cx="59013" cy="49203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1" name="Freeform 634">
              <a:extLst>
                <a:ext uri="{FF2B5EF4-FFF2-40B4-BE49-F238E27FC236}">
                  <a16:creationId xmlns:a16="http://schemas.microsoft.com/office/drawing/2014/main" id="{C6973887-8F64-1CE6-4E0A-E358B0AA3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149" y="3817343"/>
              <a:ext cx="105509" cy="128679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2" name="Freeform 635">
              <a:extLst>
                <a:ext uri="{FF2B5EF4-FFF2-40B4-BE49-F238E27FC236}">
                  <a16:creationId xmlns:a16="http://schemas.microsoft.com/office/drawing/2014/main" id="{22752AD1-627D-1B1B-22D5-6F303B15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743" y="3378314"/>
              <a:ext cx="785045" cy="533647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3" name="Freeform 636">
              <a:extLst>
                <a:ext uri="{FF2B5EF4-FFF2-40B4-BE49-F238E27FC236}">
                  <a16:creationId xmlns:a16="http://schemas.microsoft.com/office/drawing/2014/main" id="{A92DF9F1-04CC-9FD1-8171-BC4039058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74113"/>
              <a:ext cx="157367" cy="8894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4" name="Freeform 637">
              <a:extLst>
                <a:ext uri="{FF2B5EF4-FFF2-40B4-BE49-F238E27FC236}">
                  <a16:creationId xmlns:a16="http://schemas.microsoft.com/office/drawing/2014/main" id="{78C033AB-5B84-A237-CD0D-9DDDEC8F4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00311"/>
              <a:ext cx="37553" cy="832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5" name="Freeform 638">
              <a:extLst>
                <a:ext uri="{FF2B5EF4-FFF2-40B4-BE49-F238E27FC236}">
                  <a16:creationId xmlns:a16="http://schemas.microsoft.com/office/drawing/2014/main" id="{EA67DC99-4144-4F3D-8CCE-9F253DEF9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247" y="3751108"/>
              <a:ext cx="67953" cy="60555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6" name="Freeform 639">
              <a:extLst>
                <a:ext uri="{FF2B5EF4-FFF2-40B4-BE49-F238E27FC236}">
                  <a16:creationId xmlns:a16="http://schemas.microsoft.com/office/drawing/2014/main" id="{4AF0DEEC-9B68-16C5-ED86-A185B9A39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837" y="3751108"/>
              <a:ext cx="94778" cy="832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7" name="Freeform 531">
              <a:extLst>
                <a:ext uri="{FF2B5EF4-FFF2-40B4-BE49-F238E27FC236}">
                  <a16:creationId xmlns:a16="http://schemas.microsoft.com/office/drawing/2014/main" id="{30F90033-8EC4-0193-24B3-B84A712E5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2905223"/>
              <a:ext cx="30400" cy="56771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8" name="Freeform 532">
              <a:extLst>
                <a:ext uri="{FF2B5EF4-FFF2-40B4-BE49-F238E27FC236}">
                  <a16:creationId xmlns:a16="http://schemas.microsoft.com/office/drawing/2014/main" id="{8EEBCABB-C529-5BB8-A9E4-B5639BE91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1746" y="2933609"/>
              <a:ext cx="37553" cy="22709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9" name="Freeform 533">
              <a:extLst>
                <a:ext uri="{FF2B5EF4-FFF2-40B4-BE49-F238E27FC236}">
                  <a16:creationId xmlns:a16="http://schemas.microsoft.com/office/drawing/2014/main" id="{3B3B2238-CE2D-9B2F-FFFB-727134DD6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8026" y="2910900"/>
              <a:ext cx="78683" cy="39739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0" name="Freeform 535">
              <a:extLst>
                <a:ext uri="{FF2B5EF4-FFF2-40B4-BE49-F238E27FC236}">
                  <a16:creationId xmlns:a16="http://schemas.microsoft.com/office/drawing/2014/main" id="{3BA3FF08-A2DE-19AC-7A33-7FEBED285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4664" y="2744372"/>
              <a:ext cx="168096" cy="172205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1" name="Freeform 536">
              <a:extLst>
                <a:ext uri="{FF2B5EF4-FFF2-40B4-BE49-F238E27FC236}">
                  <a16:creationId xmlns:a16="http://schemas.microsoft.com/office/drawing/2014/main" id="{C2D839A0-E4CC-A88B-72F1-42431DAA7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572" y="2867374"/>
              <a:ext cx="42917" cy="54878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2" name="Freeform 556">
              <a:extLst>
                <a:ext uri="{FF2B5EF4-FFF2-40B4-BE49-F238E27FC236}">
                  <a16:creationId xmlns:a16="http://schemas.microsoft.com/office/drawing/2014/main" id="{FF0523FB-5A9E-B211-80D4-D577EDDFF2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951" y="2772758"/>
              <a:ext cx="152001" cy="105974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3" name="Freeform 557">
              <a:extLst>
                <a:ext uri="{FF2B5EF4-FFF2-40B4-BE49-F238E27FC236}">
                  <a16:creationId xmlns:a16="http://schemas.microsoft.com/office/drawing/2014/main" id="{D458A26C-C879-2C0E-51C7-244689275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139" y="2649754"/>
              <a:ext cx="67953" cy="77587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4" name="Freeform 558">
              <a:extLst>
                <a:ext uri="{FF2B5EF4-FFF2-40B4-BE49-F238E27FC236}">
                  <a16:creationId xmlns:a16="http://schemas.microsoft.com/office/drawing/2014/main" id="{2DA70C0F-5311-D6E4-2748-160AB2A2F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505" y="2560812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5" name="Freeform 559">
              <a:extLst>
                <a:ext uri="{FF2B5EF4-FFF2-40B4-BE49-F238E27FC236}">
                  <a16:creationId xmlns:a16="http://schemas.microsoft.com/office/drawing/2014/main" id="{48A2ED2F-FBD7-2D32-2A6D-A60B985DE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679" y="2534321"/>
              <a:ext cx="32188" cy="32169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6" name="Freeform 560">
              <a:extLst>
                <a:ext uri="{FF2B5EF4-FFF2-40B4-BE49-F238E27FC236}">
                  <a16:creationId xmlns:a16="http://schemas.microsoft.com/office/drawing/2014/main" id="{DB02BEAC-27BF-1014-DAC8-E829E42BF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9374" y="2543781"/>
              <a:ext cx="19671" cy="34061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7" name="Freeform 561">
              <a:extLst>
                <a:ext uri="{FF2B5EF4-FFF2-40B4-BE49-F238E27FC236}">
                  <a16:creationId xmlns:a16="http://schemas.microsoft.com/office/drawing/2014/main" id="{D604157F-808B-C642-3C39-8D7897FDF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7185" y="2511610"/>
              <a:ext cx="26823" cy="60555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8" name="Freeform 562">
              <a:extLst>
                <a:ext uri="{FF2B5EF4-FFF2-40B4-BE49-F238E27FC236}">
                  <a16:creationId xmlns:a16="http://schemas.microsoft.com/office/drawing/2014/main" id="{1B14C613-F2F0-9F7F-583B-947C3F2DB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725" y="2488902"/>
              <a:ext cx="37553" cy="39739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9" name="Freeform 563">
              <a:extLst>
                <a:ext uri="{FF2B5EF4-FFF2-40B4-BE49-F238E27FC236}">
                  <a16:creationId xmlns:a16="http://schemas.microsoft.com/office/drawing/2014/main" id="{AC64DABD-3244-AE65-F27D-527A0479B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279" y="2488902"/>
              <a:ext cx="35765" cy="51094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0" name="Freeform 564">
              <a:extLst>
                <a:ext uri="{FF2B5EF4-FFF2-40B4-BE49-F238E27FC236}">
                  <a16:creationId xmlns:a16="http://schemas.microsoft.com/office/drawing/2014/main" id="{D8DF1305-D2F7-818A-2EAB-7E04D870B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2549" y="2500256"/>
              <a:ext cx="16094" cy="5677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1" name="Freeform 565">
              <a:extLst>
                <a:ext uri="{FF2B5EF4-FFF2-40B4-BE49-F238E27FC236}">
                  <a16:creationId xmlns:a16="http://schemas.microsoft.com/office/drawing/2014/main" id="{01545A43-B9A9-03F6-AA4F-E3E12A268B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262" y="2505934"/>
              <a:ext cx="69741" cy="37847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2" name="Freeform 566">
              <a:extLst>
                <a:ext uri="{FF2B5EF4-FFF2-40B4-BE49-F238E27FC236}">
                  <a16:creationId xmlns:a16="http://schemas.microsoft.com/office/drawing/2014/main" id="{B6B20316-6578-074A-0B53-57869F119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086" y="2471871"/>
              <a:ext cx="42917" cy="39739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3" name="Freeform 567">
              <a:extLst>
                <a:ext uri="{FF2B5EF4-FFF2-40B4-BE49-F238E27FC236}">
                  <a16:creationId xmlns:a16="http://schemas.microsoft.com/office/drawing/2014/main" id="{E8BBC114-8F0D-F250-1C47-6D6B14334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447" y="2623259"/>
              <a:ext cx="51859" cy="20817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4" name="Freeform 568">
              <a:extLst>
                <a:ext uri="{FF2B5EF4-FFF2-40B4-BE49-F238E27FC236}">
                  <a16:creationId xmlns:a16="http://schemas.microsoft.com/office/drawing/2014/main" id="{BECA5B49-40B9-3BE8-F2E0-AD597C5F7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858" y="2655430"/>
              <a:ext cx="30400" cy="28387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5" name="Freeform 576">
              <a:extLst>
                <a:ext uri="{FF2B5EF4-FFF2-40B4-BE49-F238E27FC236}">
                  <a16:creationId xmlns:a16="http://schemas.microsoft.com/office/drawing/2014/main" id="{00754420-6647-F8BF-3381-D924F8E4E0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694" y="1728172"/>
              <a:ext cx="282545" cy="183559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6" name="Freeform 580">
              <a:extLst>
                <a:ext uri="{FF2B5EF4-FFF2-40B4-BE49-F238E27FC236}">
                  <a16:creationId xmlns:a16="http://schemas.microsoft.com/office/drawing/2014/main" id="{229BB32C-55B9-CC28-AF61-4D3905F49E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377" y="1555968"/>
              <a:ext cx="193132" cy="9461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7" name="Freeform 607">
              <a:extLst>
                <a:ext uri="{FF2B5EF4-FFF2-40B4-BE49-F238E27FC236}">
                  <a16:creationId xmlns:a16="http://schemas.microsoft.com/office/drawing/2014/main" id="{00374B31-19C5-A674-4A28-5D9AE0128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87" y="2405638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8" name="Freeform 608">
              <a:extLst>
                <a:ext uri="{FF2B5EF4-FFF2-40B4-BE49-F238E27FC236}">
                  <a16:creationId xmlns:a16="http://schemas.microsoft.com/office/drawing/2014/main" id="{AB88E63A-26CE-50CD-729E-001038049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642" y="2399960"/>
              <a:ext cx="5366" cy="567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9" name="Freeform 609">
              <a:extLst>
                <a:ext uri="{FF2B5EF4-FFF2-40B4-BE49-F238E27FC236}">
                  <a16:creationId xmlns:a16="http://schemas.microsoft.com/office/drawing/2014/main" id="{58D5CE48-EFB5-E4AA-D135-59F32162C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952" y="2405638"/>
              <a:ext cx="35765" cy="34061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0" name="Freeform 615">
              <a:extLst>
                <a:ext uri="{FF2B5EF4-FFF2-40B4-BE49-F238E27FC236}">
                  <a16:creationId xmlns:a16="http://schemas.microsoft.com/office/drawing/2014/main" id="{59F9FB4A-933D-7A99-C774-D59D966A7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2950639"/>
              <a:ext cx="37553" cy="17033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1" name="Freeform 640">
              <a:extLst>
                <a:ext uri="{FF2B5EF4-FFF2-40B4-BE49-F238E27FC236}">
                  <a16:creationId xmlns:a16="http://schemas.microsoft.com/office/drawing/2014/main" id="{C75CDB78-FD9C-FAE3-0F67-3B369551C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035" y="1900376"/>
              <a:ext cx="1017518" cy="722883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2" name="Freeform 641">
              <a:extLst>
                <a:ext uri="{FF2B5EF4-FFF2-40B4-BE49-F238E27FC236}">
                  <a16:creationId xmlns:a16="http://schemas.microsoft.com/office/drawing/2014/main" id="{A1D0ECF6-B65A-4F30-52AD-E570FEE8D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093" y="2821957"/>
              <a:ext cx="1514651" cy="794793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3" name="Freeform 642">
              <a:extLst>
                <a:ext uri="{FF2B5EF4-FFF2-40B4-BE49-F238E27FC236}">
                  <a16:creationId xmlns:a16="http://schemas.microsoft.com/office/drawing/2014/main" id="{8BD50AA1-0717-7ED9-D589-AC8F882AE8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278" y="1866315"/>
              <a:ext cx="2237105" cy="1216791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4" name="Freeform 797">
              <a:extLst>
                <a:ext uri="{FF2B5EF4-FFF2-40B4-BE49-F238E27FC236}">
                  <a16:creationId xmlns:a16="http://schemas.microsoft.com/office/drawing/2014/main" id="{47A18AB0-0A93-222D-CC60-E25DCFD63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039" y="2566470"/>
              <a:ext cx="48283" cy="66233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80554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</Words>
  <Application>Microsoft Office PowerPoint</Application>
  <PresentationFormat>宽屏</PresentationFormat>
  <Paragraphs>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52:19Z</dcterms:created>
  <dcterms:modified xsi:type="dcterms:W3CDTF">2025-09-04T05:52:31Z</dcterms:modified>
</cp:coreProperties>
</file>